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9"/>
  </p:notesMasterIdLst>
  <p:sldIdLst>
    <p:sldId id="256" r:id="rId5"/>
    <p:sldId id="1460" r:id="rId6"/>
    <p:sldId id="1461" r:id="rId7"/>
    <p:sldId id="1496" r:id="rId8"/>
    <p:sldId id="1582" r:id="rId9"/>
    <p:sldId id="1592" r:id="rId10"/>
    <p:sldId id="1593" r:id="rId11"/>
    <p:sldId id="1594" r:id="rId12"/>
    <p:sldId id="1595" r:id="rId13"/>
    <p:sldId id="1597" r:id="rId14"/>
    <p:sldId id="408" r:id="rId15"/>
    <p:sldId id="1600" r:id="rId16"/>
    <p:sldId id="1599" r:id="rId17"/>
    <p:sldId id="1425" r:id="rId18"/>
  </p:sldIdLst>
  <p:sldSz cx="9144000" cy="5143500" type="screen16x9"/>
  <p:notesSz cx="6858000" cy="9144000"/>
  <p:custDataLst>
    <p:tags r:id="rId20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FB0D84-12EB-DA4F-E84C-2573E9CCE67E}" name="Mizutani, Iori" initials="MI" userId="S::iori.mizutani@unisg.ch::61732c85-4620-4df0-bf02-1d16ba9cd624" providerId="AD"/>
  <p188:author id="{D781EADA-B33A-31CA-FE0C-129C4F82D78C}" name="Maillard, Alexiane" initials="MA" userId="Maillard, Alexian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981D"/>
    <a:srgbClr val="00802F"/>
    <a:srgbClr val="6CF0A2"/>
    <a:srgbClr val="084722"/>
    <a:srgbClr val="006023"/>
    <a:srgbClr val="D4D4D4"/>
    <a:srgbClr val="00802E"/>
    <a:srgbClr val="0A5F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00FD38-D445-403B-944B-4F3D0F251F26}" v="1" dt="2023-05-18T21:37:18.801"/>
    <p1510:client id="{7A5D8453-E421-427C-AB00-6A2A8B341854}" v="15" dt="2023-05-18T16:27:23.0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4" d="100"/>
          <a:sy n="124" d="100"/>
        </p:scale>
        <p:origin x="45" y="63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inik Buchegger" userId="7f2052fac20aabcc" providerId="LiveId" clId="{CDED857A-6F6D-4D17-8F57-7FC6A666347F}"/>
    <pc:docChg chg="custSel modSld">
      <pc:chgData name="Dominik Buchegger" userId="7f2052fac20aabcc" providerId="LiveId" clId="{CDED857A-6F6D-4D17-8F57-7FC6A666347F}" dt="2023-05-19T09:43:39.446" v="4" actId="27636"/>
      <pc:docMkLst>
        <pc:docMk/>
      </pc:docMkLst>
      <pc:sldChg chg="modSp mod">
        <pc:chgData name="Dominik Buchegger" userId="7f2052fac20aabcc" providerId="LiveId" clId="{CDED857A-6F6D-4D17-8F57-7FC6A666347F}" dt="2023-05-19T09:43:39.446" v="4" actId="27636"/>
        <pc:sldMkLst>
          <pc:docMk/>
          <pc:sldMk cId="1141813345" sldId="1594"/>
        </pc:sldMkLst>
        <pc:spChg chg="mod">
          <ac:chgData name="Dominik Buchegger" userId="7f2052fac20aabcc" providerId="LiveId" clId="{CDED857A-6F6D-4D17-8F57-7FC6A666347F}" dt="2023-05-19T09:43:39.446" v="4" actId="27636"/>
          <ac:spMkLst>
            <pc:docMk/>
            <pc:sldMk cId="1141813345" sldId="1594"/>
            <ac:spMk id="6" creationId="{608BCD98-03F0-7525-A7F0-853A15731A3F}"/>
          </ac:spMkLst>
        </pc:spChg>
      </pc:sldChg>
    </pc:docChg>
  </pc:docChgLst>
  <pc:docChgLst>
    <pc:chgData name="Wu, Jing" userId="185a692c-9f7b-4ee2-912c-20396d42d98e" providerId="ADAL" clId="{8DE3B8BB-31D1-C341-89EB-5C3D120DB088}"/>
    <pc:docChg chg="undo custSel addSld delSld modSld">
      <pc:chgData name="Wu, Jing" userId="185a692c-9f7b-4ee2-912c-20396d42d98e" providerId="ADAL" clId="{8DE3B8BB-31D1-C341-89EB-5C3D120DB088}" dt="2023-05-17T15:24:21.033" v="90"/>
      <pc:docMkLst>
        <pc:docMk/>
      </pc:docMkLst>
      <pc:sldChg chg="modSp mod">
        <pc:chgData name="Wu, Jing" userId="185a692c-9f7b-4ee2-912c-20396d42d98e" providerId="ADAL" clId="{8DE3B8BB-31D1-C341-89EB-5C3D120DB088}" dt="2023-05-17T15:23:40.080" v="78" actId="20577"/>
        <pc:sldMkLst>
          <pc:docMk/>
          <pc:sldMk cId="2946332310" sldId="1460"/>
        </pc:sldMkLst>
        <pc:spChg chg="mod">
          <ac:chgData name="Wu, Jing" userId="185a692c-9f7b-4ee2-912c-20396d42d98e" providerId="ADAL" clId="{8DE3B8BB-31D1-C341-89EB-5C3D120DB088}" dt="2023-05-17T15:23:40.080" v="78" actId="20577"/>
          <ac:spMkLst>
            <pc:docMk/>
            <pc:sldMk cId="2946332310" sldId="1460"/>
            <ac:spMk id="2" creationId="{38C104DD-55A5-D5D7-68B1-A81097757DA7}"/>
          </ac:spMkLst>
        </pc:spChg>
      </pc:sldChg>
      <pc:sldChg chg="modSp mod">
        <pc:chgData name="Wu, Jing" userId="185a692c-9f7b-4ee2-912c-20396d42d98e" providerId="ADAL" clId="{8DE3B8BB-31D1-C341-89EB-5C3D120DB088}" dt="2023-05-17T15:23:44.783" v="81" actId="20577"/>
        <pc:sldMkLst>
          <pc:docMk/>
          <pc:sldMk cId="860905568" sldId="1461"/>
        </pc:sldMkLst>
        <pc:spChg chg="mod">
          <ac:chgData name="Wu, Jing" userId="185a692c-9f7b-4ee2-912c-20396d42d98e" providerId="ADAL" clId="{8DE3B8BB-31D1-C341-89EB-5C3D120DB088}" dt="2023-05-17T15:23:44.783" v="81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modSp mod">
        <pc:chgData name="Wu, Jing" userId="185a692c-9f7b-4ee2-912c-20396d42d98e" providerId="ADAL" clId="{8DE3B8BB-31D1-C341-89EB-5C3D120DB088}" dt="2023-05-17T15:18:49.448" v="6" actId="20577"/>
        <pc:sldMkLst>
          <pc:docMk/>
          <pc:sldMk cId="455783933" sldId="1496"/>
        </pc:sldMkLst>
        <pc:spChg chg="mod">
          <ac:chgData name="Wu, Jing" userId="185a692c-9f7b-4ee2-912c-20396d42d98e" providerId="ADAL" clId="{8DE3B8BB-31D1-C341-89EB-5C3D120DB088}" dt="2023-05-17T15:18:49.448" v="6" actId="20577"/>
          <ac:spMkLst>
            <pc:docMk/>
            <pc:sldMk cId="455783933" sldId="1496"/>
            <ac:spMk id="2" creationId="{C36256A2-67B2-CA01-7417-6A9C17C6B307}"/>
          </ac:spMkLst>
        </pc:spChg>
      </pc:sldChg>
      <pc:sldChg chg="modSp mod">
        <pc:chgData name="Wu, Jing" userId="185a692c-9f7b-4ee2-912c-20396d42d98e" providerId="ADAL" clId="{8DE3B8BB-31D1-C341-89EB-5C3D120DB088}" dt="2023-05-17T15:24:21.033" v="90"/>
        <pc:sldMkLst>
          <pc:docMk/>
          <pc:sldMk cId="723318487" sldId="1582"/>
        </pc:sldMkLst>
        <pc:spChg chg="mod">
          <ac:chgData name="Wu, Jing" userId="185a692c-9f7b-4ee2-912c-20396d42d98e" providerId="ADAL" clId="{8DE3B8BB-31D1-C341-89EB-5C3D120DB088}" dt="2023-05-17T13:31:24.953" v="3" actId="20577"/>
          <ac:spMkLst>
            <pc:docMk/>
            <pc:sldMk cId="723318487" sldId="1582"/>
            <ac:spMk id="3" creationId="{D457EF17-3F8F-5F3C-D235-ABE6EEBEC219}"/>
          </ac:spMkLst>
        </pc:spChg>
        <pc:spChg chg="mod">
          <ac:chgData name="Wu, Jing" userId="185a692c-9f7b-4ee2-912c-20396d42d98e" providerId="ADAL" clId="{8DE3B8BB-31D1-C341-89EB-5C3D120DB088}" dt="2023-05-17T15:24:21.033" v="90"/>
          <ac:spMkLst>
            <pc:docMk/>
            <pc:sldMk cId="723318487" sldId="1582"/>
            <ac:spMk id="6" creationId="{F5EEC294-B771-D940-6194-AB1896DE8ECA}"/>
          </ac:spMkLst>
        </pc:spChg>
      </pc:sldChg>
      <pc:sldChg chg="del">
        <pc:chgData name="Wu, Jing" userId="185a692c-9f7b-4ee2-912c-20396d42d98e" providerId="ADAL" clId="{8DE3B8BB-31D1-C341-89EB-5C3D120DB088}" dt="2023-05-17T15:23:46.695" v="83" actId="2696"/>
        <pc:sldMkLst>
          <pc:docMk/>
          <pc:sldMk cId="4127138690" sldId="1586"/>
        </pc:sldMkLst>
      </pc:sldChg>
      <pc:sldChg chg="del">
        <pc:chgData name="Wu, Jing" userId="185a692c-9f7b-4ee2-912c-20396d42d98e" providerId="ADAL" clId="{8DE3B8BB-31D1-C341-89EB-5C3D120DB088}" dt="2023-05-17T15:23:46.201" v="82" actId="2696"/>
        <pc:sldMkLst>
          <pc:docMk/>
          <pc:sldMk cId="1961998598" sldId="1587"/>
        </pc:sldMkLst>
      </pc:sldChg>
      <pc:sldChg chg="addSp delSp modSp add mod">
        <pc:chgData name="Wu, Jing" userId="185a692c-9f7b-4ee2-912c-20396d42d98e" providerId="ADAL" clId="{8DE3B8BB-31D1-C341-89EB-5C3D120DB088}" dt="2023-05-17T15:21:36.612" v="71" actId="1035"/>
        <pc:sldMkLst>
          <pc:docMk/>
          <pc:sldMk cId="2456456787" sldId="1598"/>
        </pc:sldMkLst>
        <pc:spChg chg="add del mod">
          <ac:chgData name="Wu, Jing" userId="185a692c-9f7b-4ee2-912c-20396d42d98e" providerId="ADAL" clId="{8DE3B8BB-31D1-C341-89EB-5C3D120DB088}" dt="2023-05-17T15:19:17.767" v="13" actId="931"/>
          <ac:spMkLst>
            <pc:docMk/>
            <pc:sldMk cId="2456456787" sldId="1598"/>
            <ac:spMk id="5" creationId="{DE85CA5B-B2B7-63BB-E59C-E5022D610470}"/>
          </ac:spMkLst>
        </pc:spChg>
        <pc:spChg chg="del">
          <ac:chgData name="Wu, Jing" userId="185a692c-9f7b-4ee2-912c-20396d42d98e" providerId="ADAL" clId="{8DE3B8BB-31D1-C341-89EB-5C3D120DB088}" dt="2023-05-17T15:18:59.487" v="8" actId="478"/>
          <ac:spMkLst>
            <pc:docMk/>
            <pc:sldMk cId="2456456787" sldId="1598"/>
            <ac:spMk id="6" creationId="{F5EEC294-B771-D940-6194-AB1896DE8ECA}"/>
          </ac:spMkLst>
        </pc:spChg>
        <pc:spChg chg="add del">
          <ac:chgData name="Wu, Jing" userId="185a692c-9f7b-4ee2-912c-20396d42d98e" providerId="ADAL" clId="{8DE3B8BB-31D1-C341-89EB-5C3D120DB088}" dt="2023-05-17T15:19:05.240" v="11" actId="478"/>
          <ac:spMkLst>
            <pc:docMk/>
            <pc:sldMk cId="2456456787" sldId="1598"/>
            <ac:spMk id="7" creationId="{F666E8F7-8B25-B437-131E-F8882B62E16E}"/>
          </ac:spMkLst>
        </pc:spChg>
        <pc:spChg chg="add del mod">
          <ac:chgData name="Wu, Jing" userId="185a692c-9f7b-4ee2-912c-20396d42d98e" providerId="ADAL" clId="{8DE3B8BB-31D1-C341-89EB-5C3D120DB088}" dt="2023-05-17T15:19:03.605" v="10" actId="478"/>
          <ac:spMkLst>
            <pc:docMk/>
            <pc:sldMk cId="2456456787" sldId="1598"/>
            <ac:spMk id="9" creationId="{B19F794B-3F26-1107-F586-6D4DEA9D5B49}"/>
          </ac:spMkLst>
        </pc:spChg>
        <pc:spChg chg="add del mod">
          <ac:chgData name="Wu, Jing" userId="185a692c-9f7b-4ee2-912c-20396d42d98e" providerId="ADAL" clId="{8DE3B8BB-31D1-C341-89EB-5C3D120DB088}" dt="2023-05-17T15:19:06.519" v="12" actId="478"/>
          <ac:spMkLst>
            <pc:docMk/>
            <pc:sldMk cId="2456456787" sldId="1598"/>
            <ac:spMk id="11" creationId="{B2DBB0B4-8EFA-A7FF-9DE3-FF8C9A7C4968}"/>
          </ac:spMkLst>
        </pc:spChg>
        <pc:spChg chg="add mod">
          <ac:chgData name="Wu, Jing" userId="185a692c-9f7b-4ee2-912c-20396d42d98e" providerId="ADAL" clId="{8DE3B8BB-31D1-C341-89EB-5C3D120DB088}" dt="2023-05-17T15:21:36.612" v="71" actId="1035"/>
          <ac:spMkLst>
            <pc:docMk/>
            <pc:sldMk cId="2456456787" sldId="1598"/>
            <ac:spMk id="14" creationId="{76BB1EB6-404F-BC65-16C1-C7E6F722AFE9}"/>
          </ac:spMkLst>
        </pc:spChg>
        <pc:spChg chg="add mod">
          <ac:chgData name="Wu, Jing" userId="185a692c-9f7b-4ee2-912c-20396d42d98e" providerId="ADAL" clId="{8DE3B8BB-31D1-C341-89EB-5C3D120DB088}" dt="2023-05-17T15:21:36.612" v="71" actId="1035"/>
          <ac:spMkLst>
            <pc:docMk/>
            <pc:sldMk cId="2456456787" sldId="1598"/>
            <ac:spMk id="15" creationId="{A7981998-59E2-897C-FF51-67D3988239F8}"/>
          </ac:spMkLst>
        </pc:spChg>
        <pc:picChg chg="add mod">
          <ac:chgData name="Wu, Jing" userId="185a692c-9f7b-4ee2-912c-20396d42d98e" providerId="ADAL" clId="{8DE3B8BB-31D1-C341-89EB-5C3D120DB088}" dt="2023-05-17T15:20:05.827" v="29" actId="1076"/>
          <ac:picMkLst>
            <pc:docMk/>
            <pc:sldMk cId="2456456787" sldId="1598"/>
            <ac:picMk id="13" creationId="{3859DA29-4F11-AD73-945F-4F26AD2F559F}"/>
          </ac:picMkLst>
        </pc:picChg>
      </pc:sldChg>
    </pc:docChg>
  </pc:docChgLst>
  <pc:docChgLst>
    <pc:chgData name="Dominik Buchegger" userId="4419538d-6150-464b-ac11-eb0323261855" providerId="ADAL" clId="{7A5D8453-E421-427C-AB00-6A2A8B341854}"/>
    <pc:docChg chg="undo redo custSel addSld delSld modSld sldOrd">
      <pc:chgData name="Dominik Buchegger" userId="4419538d-6150-464b-ac11-eb0323261855" providerId="ADAL" clId="{7A5D8453-E421-427C-AB00-6A2A8B341854}" dt="2023-05-18T16:29:00.719" v="2210" actId="14100"/>
      <pc:docMkLst>
        <pc:docMk/>
      </pc:docMkLst>
      <pc:sldChg chg="modSp mod">
        <pc:chgData name="Dominik Buchegger" userId="4419538d-6150-464b-ac11-eb0323261855" providerId="ADAL" clId="{7A5D8453-E421-427C-AB00-6A2A8B341854}" dt="2023-05-12T21:03:00.504" v="1245" actId="20577"/>
        <pc:sldMkLst>
          <pc:docMk/>
          <pc:sldMk cId="3772496692" sldId="256"/>
        </pc:sldMkLst>
        <pc:spChg chg="mod">
          <ac:chgData name="Dominik Buchegger" userId="4419538d-6150-464b-ac11-eb0323261855" providerId="ADAL" clId="{7A5D8453-E421-427C-AB00-6A2A8B341854}" dt="2023-05-12T21:03:00.504" v="1245" actId="20577"/>
          <ac:spMkLst>
            <pc:docMk/>
            <pc:sldMk cId="3772496692" sldId="256"/>
            <ac:spMk id="13" creationId="{0C11E479-9B3A-42D2-A07C-80F9E924336D}"/>
          </ac:spMkLst>
        </pc:spChg>
      </pc:sldChg>
      <pc:sldChg chg="addSp delSp modSp add del mod">
        <pc:chgData name="Dominik Buchegger" userId="4419538d-6150-464b-ac11-eb0323261855" providerId="ADAL" clId="{7A5D8453-E421-427C-AB00-6A2A8B341854}" dt="2023-05-11T16:10:55.168" v="75" actId="47"/>
        <pc:sldMkLst>
          <pc:docMk/>
          <pc:sldMk cId="3686135566" sldId="402"/>
        </pc:sldMkLst>
        <pc:spChg chg="add del mod">
          <ac:chgData name="Dominik Buchegger" userId="4419538d-6150-464b-ac11-eb0323261855" providerId="ADAL" clId="{7A5D8453-E421-427C-AB00-6A2A8B341854}" dt="2023-05-11T16:09:28.017" v="10" actId="478"/>
          <ac:spMkLst>
            <pc:docMk/>
            <pc:sldMk cId="3686135566" sldId="402"/>
            <ac:spMk id="3" creationId="{18DA8BEF-0772-34D0-45E6-F76BF67285F8}"/>
          </ac:spMkLst>
        </pc:spChg>
        <pc:spChg chg="add mod">
          <ac:chgData name="Dominik Buchegger" userId="4419538d-6150-464b-ac11-eb0323261855" providerId="ADAL" clId="{7A5D8453-E421-427C-AB00-6A2A8B341854}" dt="2023-05-11T16:10:01.743" v="18" actId="1076"/>
          <ac:spMkLst>
            <pc:docMk/>
            <pc:sldMk cId="3686135566" sldId="402"/>
            <ac:spMk id="5" creationId="{564F9BFA-1A44-A447-E66F-6014793875A4}"/>
          </ac:spMkLst>
        </pc:spChg>
      </pc:sldChg>
      <pc:sldChg chg="addSp delSp modSp add del mod modClrScheme chgLayout">
        <pc:chgData name="Dominik Buchegger" userId="4419538d-6150-464b-ac11-eb0323261855" providerId="ADAL" clId="{7A5D8453-E421-427C-AB00-6A2A8B341854}" dt="2023-05-12T20:32:05.022" v="206" actId="47"/>
        <pc:sldMkLst>
          <pc:docMk/>
          <pc:sldMk cId="1112740418" sldId="403"/>
        </pc:sldMkLst>
        <pc:spChg chg="mod ord">
          <ac:chgData name="Dominik Buchegger" userId="4419538d-6150-464b-ac11-eb0323261855" providerId="ADAL" clId="{7A5D8453-E421-427C-AB00-6A2A8B341854}" dt="2023-05-12T20:31:24.880" v="192" actId="21"/>
          <ac:spMkLst>
            <pc:docMk/>
            <pc:sldMk cId="1112740418" sldId="403"/>
            <ac:spMk id="2" creationId="{A6A00921-825B-4F01-B434-F18EC92753F3}"/>
          </ac:spMkLst>
        </pc:spChg>
        <pc:spChg chg="add del mod ord">
          <ac:chgData name="Dominik Buchegger" userId="4419538d-6150-464b-ac11-eb0323261855" providerId="ADAL" clId="{7A5D8453-E421-427C-AB00-6A2A8B341854}" dt="2023-05-12T20:26:14.742" v="78" actId="700"/>
          <ac:spMkLst>
            <pc:docMk/>
            <pc:sldMk cId="1112740418" sldId="403"/>
            <ac:spMk id="3" creationId="{8B0AF47C-6937-7C36-F327-6902AFA1CE72}"/>
          </ac:spMkLst>
        </pc:spChg>
        <pc:spChg chg="mod ord">
          <ac:chgData name="Dominik Buchegger" userId="4419538d-6150-464b-ac11-eb0323261855" providerId="ADAL" clId="{7A5D8453-E421-427C-AB00-6A2A8B341854}" dt="2023-05-12T20:31:32.522" v="194" actId="21"/>
          <ac:spMkLst>
            <pc:docMk/>
            <pc:sldMk cId="1112740418" sldId="403"/>
            <ac:spMk id="4" creationId="{8878E0CF-4EC3-CBF2-ED44-941726103A6A}"/>
          </ac:spMkLst>
        </pc:spChg>
        <pc:spChg chg="add del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5" creationId="{0670E2BE-C623-1F40-47CD-DBEA7D757FB7}"/>
          </ac:spMkLst>
        </pc:spChg>
        <pc:spChg chg="add mod ord">
          <ac:chgData name="Dominik Buchegger" userId="4419538d-6150-464b-ac11-eb0323261855" providerId="ADAL" clId="{7A5D8453-E421-427C-AB00-6A2A8B341854}" dt="2023-05-12T20:31:43.805" v="200" actId="21"/>
          <ac:spMkLst>
            <pc:docMk/>
            <pc:sldMk cId="1112740418" sldId="403"/>
            <ac:spMk id="6" creationId="{29635AFE-4947-2857-B33A-952D7CA9C4AA}"/>
          </ac:spMkLst>
        </pc:spChg>
        <pc:spChg chg="add del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8" creationId="{511521AC-9330-AD45-F68B-81EAB97AC6C2}"/>
          </ac:spMkLst>
        </pc:spChg>
        <pc:spChg chg="del mod">
          <ac:chgData name="Dominik Buchegger" userId="4419538d-6150-464b-ac11-eb0323261855" providerId="ADAL" clId="{7A5D8453-E421-427C-AB00-6A2A8B341854}" dt="2023-05-12T20:31:52.654" v="203" actId="21"/>
          <ac:spMkLst>
            <pc:docMk/>
            <pc:sldMk cId="1112740418" sldId="403"/>
            <ac:spMk id="9" creationId="{E2D3FEC4-191D-D616-7421-39C43727545C}"/>
          </ac:spMkLst>
        </pc:spChg>
        <pc:spChg chg="add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10" creationId="{38E77BDF-F442-9365-2A37-FA1527A4E90A}"/>
          </ac:spMkLst>
        </pc:spChg>
        <pc:spChg chg="del mod">
          <ac:chgData name="Dominik Buchegger" userId="4419538d-6150-464b-ac11-eb0323261855" providerId="ADAL" clId="{7A5D8453-E421-427C-AB00-6A2A8B341854}" dt="2023-05-12T20:27:04.021" v="82" actId="478"/>
          <ac:spMkLst>
            <pc:docMk/>
            <pc:sldMk cId="1112740418" sldId="403"/>
            <ac:spMk id="11" creationId="{A46CA7E9-6BCD-10E3-8425-E16034661A98}"/>
          </ac:spMkLst>
        </pc:spChg>
        <pc:spChg chg="add mod ord">
          <ac:chgData name="Dominik Buchegger" userId="4419538d-6150-464b-ac11-eb0323261855" providerId="ADAL" clId="{7A5D8453-E421-427C-AB00-6A2A8B341854}" dt="2023-05-12T20:29:20.344" v="178" actId="20577"/>
          <ac:spMkLst>
            <pc:docMk/>
            <pc:sldMk cId="1112740418" sldId="403"/>
            <ac:spMk id="12" creationId="{6FA69D44-E33C-E79F-1FC7-06710690C075}"/>
          </ac:spMkLst>
        </pc:spChg>
        <pc:spChg chg="add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13" creationId="{85113249-2358-544F-4A01-0F4A4228D75A}"/>
          </ac:spMkLst>
        </pc:spChg>
        <pc:spChg chg="add del mod">
          <ac:chgData name="Dominik Buchegger" userId="4419538d-6150-464b-ac11-eb0323261855" providerId="ADAL" clId="{7A5D8453-E421-427C-AB00-6A2A8B341854}" dt="2023-05-12T20:31:00.992" v="186"/>
          <ac:spMkLst>
            <pc:docMk/>
            <pc:sldMk cId="1112740418" sldId="403"/>
            <ac:spMk id="14" creationId="{D98E6F40-B4F3-E93A-4779-72D55AE12902}"/>
          </ac:spMkLst>
        </pc:spChg>
        <pc:picChg chg="del mod">
          <ac:chgData name="Dominik Buchegger" userId="4419538d-6150-464b-ac11-eb0323261855" providerId="ADAL" clId="{7A5D8453-E421-427C-AB00-6A2A8B341854}" dt="2023-05-12T20:31:39.187" v="198" actId="21"/>
          <ac:picMkLst>
            <pc:docMk/>
            <pc:sldMk cId="1112740418" sldId="403"/>
            <ac:picMk id="7" creationId="{BA6ADDE6-7F1B-8681-2F22-7B59127AEFA7}"/>
          </ac:picMkLst>
        </pc:picChg>
      </pc:sldChg>
      <pc:sldChg chg="modSp add del mod">
        <pc:chgData name="Dominik Buchegger" userId="4419538d-6150-464b-ac11-eb0323261855" providerId="ADAL" clId="{7A5D8453-E421-427C-AB00-6A2A8B341854}" dt="2023-05-12T20:52:57.454" v="1069" actId="47"/>
        <pc:sldMkLst>
          <pc:docMk/>
          <pc:sldMk cId="3942011399" sldId="404"/>
        </pc:sldMkLst>
        <pc:spChg chg="mod">
          <ac:chgData name="Dominik Buchegger" userId="4419538d-6150-464b-ac11-eb0323261855" providerId="ADAL" clId="{7A5D8453-E421-427C-AB00-6A2A8B341854}" dt="2023-05-12T20:52:50.082" v="1064" actId="21"/>
          <ac:spMkLst>
            <pc:docMk/>
            <pc:sldMk cId="3942011399" sldId="404"/>
            <ac:spMk id="3" creationId="{FD110B99-AF49-AF23-5206-B0A78426C187}"/>
          </ac:spMkLst>
        </pc:spChg>
      </pc:sldChg>
      <pc:sldChg chg="addSp delSp modSp add del mod modClrScheme chgLayout">
        <pc:chgData name="Dominik Buchegger" userId="4419538d-6150-464b-ac11-eb0323261855" providerId="ADAL" clId="{7A5D8453-E421-427C-AB00-6A2A8B341854}" dt="2023-05-12T20:45:22.128" v="527" actId="47"/>
        <pc:sldMkLst>
          <pc:docMk/>
          <pc:sldMk cId="4185402392" sldId="405"/>
        </pc:sldMkLst>
        <pc:spChg chg="mod ord">
          <ac:chgData name="Dominik Buchegger" userId="4419538d-6150-464b-ac11-eb0323261855" providerId="ADAL" clId="{7A5D8453-E421-427C-AB00-6A2A8B341854}" dt="2023-05-12T20:32:37.622" v="212" actId="21"/>
          <ac:spMkLst>
            <pc:docMk/>
            <pc:sldMk cId="4185402392" sldId="405"/>
            <ac:spMk id="2" creationId="{AA44CC23-93C2-969D-52AE-42A92D4BCF7A}"/>
          </ac:spMkLst>
        </pc:spChg>
        <pc:spChg chg="mod ord">
          <ac:chgData name="Dominik Buchegger" userId="4419538d-6150-464b-ac11-eb0323261855" providerId="ADAL" clId="{7A5D8453-E421-427C-AB00-6A2A8B341854}" dt="2023-05-12T20:34:36.999" v="249" actId="21"/>
          <ac:spMkLst>
            <pc:docMk/>
            <pc:sldMk cId="4185402392" sldId="405"/>
            <ac:spMk id="3" creationId="{FD110B99-AF49-AF23-5206-B0A78426C187}"/>
          </ac:spMkLst>
        </pc:spChg>
        <pc:spChg chg="add mod ord">
          <ac:chgData name="Dominik Buchegger" userId="4419538d-6150-464b-ac11-eb0323261855" providerId="ADAL" clId="{7A5D8453-E421-427C-AB00-6A2A8B341854}" dt="2023-05-12T20:30:43.427" v="183" actId="700"/>
          <ac:spMkLst>
            <pc:docMk/>
            <pc:sldMk cId="4185402392" sldId="405"/>
            <ac:spMk id="4" creationId="{4F0ACCB4-C03B-363A-0718-B990A5C46F34}"/>
          </ac:spMkLst>
        </pc:spChg>
        <pc:spChg chg="del">
          <ac:chgData name="Dominik Buchegger" userId="4419538d-6150-464b-ac11-eb0323261855" providerId="ADAL" clId="{7A5D8453-E421-427C-AB00-6A2A8B341854}" dt="2023-05-12T20:33:33.166" v="223" actId="21"/>
          <ac:spMkLst>
            <pc:docMk/>
            <pc:sldMk cId="4185402392" sldId="405"/>
            <ac:spMk id="12" creationId="{1B113A8D-7393-B9B8-31B9-61184B4873E3}"/>
          </ac:spMkLst>
        </pc:spChg>
        <pc:spChg chg="del mod">
          <ac:chgData name="Dominik Buchegger" userId="4419538d-6150-464b-ac11-eb0323261855" providerId="ADAL" clId="{7A5D8453-E421-427C-AB00-6A2A8B341854}" dt="2023-05-12T20:35:29.049" v="260"/>
          <ac:spMkLst>
            <pc:docMk/>
            <pc:sldMk cId="4185402392" sldId="405"/>
            <ac:spMk id="13" creationId="{108F6ED8-AA6C-F2B4-CDB3-809A08C323A0}"/>
          </ac:spMkLst>
        </pc:spChg>
        <pc:spChg chg="del mod">
          <ac:chgData name="Dominik Buchegger" userId="4419538d-6150-464b-ac11-eb0323261855" providerId="ADAL" clId="{7A5D8453-E421-427C-AB00-6A2A8B341854}" dt="2023-05-12T20:38:06.122" v="301"/>
          <ac:spMkLst>
            <pc:docMk/>
            <pc:sldMk cId="4185402392" sldId="405"/>
            <ac:spMk id="15" creationId="{81AC21B4-599D-C979-93C6-EE247EB45B6E}"/>
          </ac:spMkLst>
        </pc:spChg>
        <pc:picChg chg="del mod">
          <ac:chgData name="Dominik Buchegger" userId="4419538d-6150-464b-ac11-eb0323261855" providerId="ADAL" clId="{7A5D8453-E421-427C-AB00-6A2A8B341854}" dt="2023-05-12T20:32:44.325" v="215" actId="21"/>
          <ac:picMkLst>
            <pc:docMk/>
            <pc:sldMk cId="4185402392" sldId="405"/>
            <ac:picMk id="8" creationId="{32B2BFCA-975D-0E6A-FE03-AA8A1FC30229}"/>
          </ac:picMkLst>
        </pc:picChg>
      </pc:sldChg>
      <pc:sldChg chg="modSp add del mod ord">
        <pc:chgData name="Dominik Buchegger" userId="4419538d-6150-464b-ac11-eb0323261855" providerId="ADAL" clId="{7A5D8453-E421-427C-AB00-6A2A8B341854}" dt="2023-05-12T20:52:45.982" v="1063" actId="47"/>
        <pc:sldMkLst>
          <pc:docMk/>
          <pc:sldMk cId="3914310551" sldId="406"/>
        </pc:sldMkLst>
        <pc:spChg chg="mod">
          <ac:chgData name="Dominik Buchegger" userId="4419538d-6150-464b-ac11-eb0323261855" providerId="ADAL" clId="{7A5D8453-E421-427C-AB00-6A2A8B341854}" dt="2023-05-12T20:45:56.689" v="534" actId="21"/>
          <ac:spMkLst>
            <pc:docMk/>
            <pc:sldMk cId="3914310551" sldId="406"/>
            <ac:spMk id="3" creationId="{FD110B99-AF49-AF23-5206-B0A78426C187}"/>
          </ac:spMkLst>
        </pc:spChg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4128348825" sldId="407"/>
        </pc:sldMkLst>
      </pc:sldChg>
      <pc:sldChg chg="addSp delSp modSp add mod ord modClrScheme modShow chgLayout">
        <pc:chgData name="Dominik Buchegger" userId="4419538d-6150-464b-ac11-eb0323261855" providerId="ADAL" clId="{7A5D8453-E421-427C-AB00-6A2A8B341854}" dt="2023-05-18T16:16:54.287" v="1987" actId="1076"/>
        <pc:sldMkLst>
          <pc:docMk/>
          <pc:sldMk cId="1941786393" sldId="408"/>
        </pc:sldMkLst>
        <pc:spChg chg="mod ord">
          <ac:chgData name="Dominik Buchegger" userId="4419538d-6150-464b-ac11-eb0323261855" providerId="ADAL" clId="{7A5D8453-E421-427C-AB00-6A2A8B341854}" dt="2023-05-18T16:11:13.263" v="1909" actId="20577"/>
          <ac:spMkLst>
            <pc:docMk/>
            <pc:sldMk cId="1941786393" sldId="408"/>
            <ac:spMk id="2" creationId="{AA44CC23-93C2-969D-52AE-42A92D4BCF7A}"/>
          </ac:spMkLst>
        </pc:spChg>
        <pc:spChg chg="add mod ord">
          <ac:chgData name="Dominik Buchegger" userId="4419538d-6150-464b-ac11-eb0323261855" providerId="ADAL" clId="{7A5D8453-E421-427C-AB00-6A2A8B341854}" dt="2023-05-18T16:02:00.531" v="1524" actId="700"/>
          <ac:spMkLst>
            <pc:docMk/>
            <pc:sldMk cId="1941786393" sldId="408"/>
            <ac:spMk id="3" creationId="{F81032F9-BBBF-F2A3-17B1-8F5DF72A5230}"/>
          </ac:spMkLst>
        </pc:spChg>
        <pc:spChg chg="del mod ord">
          <ac:chgData name="Dominik Buchegger" userId="4419538d-6150-464b-ac11-eb0323261855" providerId="ADAL" clId="{7A5D8453-E421-427C-AB00-6A2A8B341854}" dt="2023-05-18T16:02:00.531" v="1524" actId="700"/>
          <ac:spMkLst>
            <pc:docMk/>
            <pc:sldMk cId="1941786393" sldId="408"/>
            <ac:spMk id="5" creationId="{8A2F830B-F82B-3F3F-08EB-36F003542F0C}"/>
          </ac:spMkLst>
        </pc:spChg>
        <pc:spChg chg="add del mod">
          <ac:chgData name="Dominik Buchegger" userId="4419538d-6150-464b-ac11-eb0323261855" providerId="ADAL" clId="{7A5D8453-E421-427C-AB00-6A2A8B341854}" dt="2023-05-18T16:10:16.979" v="1854" actId="478"/>
          <ac:spMkLst>
            <pc:docMk/>
            <pc:sldMk cId="1941786393" sldId="408"/>
            <ac:spMk id="7" creationId="{A19B1494-4942-B992-03C3-9068C885E925}"/>
          </ac:spMkLst>
        </pc:spChg>
        <pc:spChg chg="del mod">
          <ac:chgData name="Dominik Buchegger" userId="4419538d-6150-464b-ac11-eb0323261855" providerId="ADAL" clId="{7A5D8453-E421-427C-AB00-6A2A8B341854}" dt="2023-05-18T16:04:08.904" v="1572" actId="478"/>
          <ac:spMkLst>
            <pc:docMk/>
            <pc:sldMk cId="1941786393" sldId="408"/>
            <ac:spMk id="10" creationId="{4AFD6C6C-F40C-A2FC-E862-60707B0113E0}"/>
          </ac:spMkLst>
        </pc:spChg>
        <pc:spChg chg="add del mod">
          <ac:chgData name="Dominik Buchegger" userId="4419538d-6150-464b-ac11-eb0323261855" providerId="ADAL" clId="{7A5D8453-E421-427C-AB00-6A2A8B341854}" dt="2023-05-18T16:10:19" v="1855" actId="478"/>
          <ac:spMkLst>
            <pc:docMk/>
            <pc:sldMk cId="1941786393" sldId="408"/>
            <ac:spMk id="11" creationId="{9A545D68-3236-0258-39E0-F2E59F8027C1}"/>
          </ac:spMkLst>
        </pc:spChg>
        <pc:spChg chg="del">
          <ac:chgData name="Dominik Buchegger" userId="4419538d-6150-464b-ac11-eb0323261855" providerId="ADAL" clId="{7A5D8453-E421-427C-AB00-6A2A8B341854}" dt="2023-05-18T16:05:07.626" v="1626" actId="478"/>
          <ac:spMkLst>
            <pc:docMk/>
            <pc:sldMk cId="1941786393" sldId="408"/>
            <ac:spMk id="12" creationId="{A1F39006-72E8-D4C4-8222-2198497973CF}"/>
          </ac:spMkLst>
        </pc:spChg>
        <pc:spChg chg="del">
          <ac:chgData name="Dominik Buchegger" userId="4419538d-6150-464b-ac11-eb0323261855" providerId="ADAL" clId="{7A5D8453-E421-427C-AB00-6A2A8B341854}" dt="2023-05-18T16:04:03.489" v="1570" actId="478"/>
          <ac:spMkLst>
            <pc:docMk/>
            <pc:sldMk cId="1941786393" sldId="408"/>
            <ac:spMk id="14" creationId="{103D0CAB-EE00-6D63-F312-F3AEF314E2DD}"/>
          </ac:spMkLst>
        </pc:spChg>
        <pc:spChg chg="add del mod">
          <ac:chgData name="Dominik Buchegger" userId="4419538d-6150-464b-ac11-eb0323261855" providerId="ADAL" clId="{7A5D8453-E421-427C-AB00-6A2A8B341854}" dt="2023-05-18T16:10:21.334" v="1856" actId="478"/>
          <ac:spMkLst>
            <pc:docMk/>
            <pc:sldMk cId="1941786393" sldId="408"/>
            <ac:spMk id="15" creationId="{F972CCA4-B13B-9C70-1448-5D41E53A27B7}"/>
          </ac:spMkLst>
        </pc:spChg>
        <pc:spChg chg="del mod">
          <ac:chgData name="Dominik Buchegger" userId="4419538d-6150-464b-ac11-eb0323261855" providerId="ADAL" clId="{7A5D8453-E421-427C-AB00-6A2A8B341854}" dt="2023-05-18T16:03:59.706" v="1569" actId="478"/>
          <ac:spMkLst>
            <pc:docMk/>
            <pc:sldMk cId="1941786393" sldId="408"/>
            <ac:spMk id="16" creationId="{D7D4AB6F-7091-0BDB-2BBE-5827A6A0851A}"/>
          </ac:spMkLst>
        </pc:spChg>
        <pc:spChg chg="add mod">
          <ac:chgData name="Dominik Buchegger" userId="4419538d-6150-464b-ac11-eb0323261855" providerId="ADAL" clId="{7A5D8453-E421-427C-AB00-6A2A8B341854}" dt="2023-05-18T16:05:23.460" v="1633"/>
          <ac:spMkLst>
            <pc:docMk/>
            <pc:sldMk cId="1941786393" sldId="408"/>
            <ac:spMk id="17" creationId="{F3623346-F20A-1C6B-8B23-84C4741618F4}"/>
          </ac:spMkLst>
        </pc:spChg>
        <pc:spChg chg="add del mod">
          <ac:chgData name="Dominik Buchegger" userId="4419538d-6150-464b-ac11-eb0323261855" providerId="ADAL" clId="{7A5D8453-E421-427C-AB00-6A2A8B341854}" dt="2023-05-18T16:10:46.574" v="1862"/>
          <ac:spMkLst>
            <pc:docMk/>
            <pc:sldMk cId="1941786393" sldId="408"/>
            <ac:spMk id="18" creationId="{023ECD2B-CDC4-0F5C-9FB7-584DF952FA35}"/>
          </ac:spMkLst>
        </pc:spChg>
        <pc:picChg chg="add del mod">
          <ac:chgData name="Dominik Buchegger" userId="4419538d-6150-464b-ac11-eb0323261855" providerId="ADAL" clId="{7A5D8453-E421-427C-AB00-6A2A8B341854}" dt="2023-05-18T16:10:13.334" v="1853" actId="478"/>
          <ac:picMkLst>
            <pc:docMk/>
            <pc:sldMk cId="1941786393" sldId="408"/>
            <ac:picMk id="4" creationId="{E7A55A6A-2ECC-C9E4-754E-47BA8B6D0ACD}"/>
          </ac:picMkLst>
        </pc:picChg>
        <pc:picChg chg="del">
          <ac:chgData name="Dominik Buchegger" userId="4419538d-6150-464b-ac11-eb0323261855" providerId="ADAL" clId="{7A5D8453-E421-427C-AB00-6A2A8B341854}" dt="2023-05-18T16:10:22.483" v="1857" actId="478"/>
          <ac:picMkLst>
            <pc:docMk/>
            <pc:sldMk cId="1941786393" sldId="408"/>
            <ac:picMk id="8" creationId="{E1E0FFC7-F140-1076-9259-82414B8BD747}"/>
          </ac:picMkLst>
        </pc:picChg>
        <pc:picChg chg="add mod modCrop">
          <ac:chgData name="Dominik Buchegger" userId="4419538d-6150-464b-ac11-eb0323261855" providerId="ADAL" clId="{7A5D8453-E421-427C-AB00-6A2A8B341854}" dt="2023-05-18T16:16:54.287" v="1987" actId="1076"/>
          <ac:picMkLst>
            <pc:docMk/>
            <pc:sldMk cId="1941786393" sldId="408"/>
            <ac:picMk id="19" creationId="{B00056B4-67BA-4BD3-CD00-BA6F9F80EA7F}"/>
          </ac:picMkLst>
        </pc:picChg>
      </pc:sldChg>
      <pc:sldChg chg="addSp delSp add del mod ord modShow">
        <pc:chgData name="Dominik Buchegger" userId="4419538d-6150-464b-ac11-eb0323261855" providerId="ADAL" clId="{7A5D8453-E421-427C-AB00-6A2A8B341854}" dt="2023-05-18T16:10:55.437" v="1865" actId="47"/>
        <pc:sldMkLst>
          <pc:docMk/>
          <pc:sldMk cId="3766164343" sldId="409"/>
        </pc:sldMkLst>
        <pc:picChg chg="add del">
          <ac:chgData name="Dominik Buchegger" userId="4419538d-6150-464b-ac11-eb0323261855" providerId="ADAL" clId="{7A5D8453-E421-427C-AB00-6A2A8B341854}" dt="2023-05-18T16:10:47.177" v="1863" actId="478"/>
          <ac:picMkLst>
            <pc:docMk/>
            <pc:sldMk cId="3766164343" sldId="409"/>
            <ac:picMk id="6" creationId="{637B6B03-652B-DC4F-62A6-F6D7FC697232}"/>
          </ac:picMkLst>
        </pc:picChg>
      </pc:sldChg>
      <pc:sldChg chg="delSp add del mod ord modShow">
        <pc:chgData name="Dominik Buchegger" userId="4419538d-6150-464b-ac11-eb0323261855" providerId="ADAL" clId="{7A5D8453-E421-427C-AB00-6A2A8B341854}" dt="2023-05-18T16:07:20.216" v="1722" actId="47"/>
        <pc:sldMkLst>
          <pc:docMk/>
          <pc:sldMk cId="2884668348" sldId="410"/>
        </pc:sldMkLst>
        <pc:spChg chg="del">
          <ac:chgData name="Dominik Buchegger" userId="4419538d-6150-464b-ac11-eb0323261855" providerId="ADAL" clId="{7A5D8453-E421-427C-AB00-6A2A8B341854}" dt="2023-05-18T16:07:11.777" v="1719" actId="21"/>
          <ac:spMkLst>
            <pc:docMk/>
            <pc:sldMk cId="2884668348" sldId="410"/>
            <ac:spMk id="8" creationId="{B6BD9397-45F7-BB40-63A1-1DA5CCE4F0AA}"/>
          </ac:spMkLst>
        </pc:spChg>
        <pc:picChg chg="del">
          <ac:chgData name="Dominik Buchegger" userId="4419538d-6150-464b-ac11-eb0323261855" providerId="ADAL" clId="{7A5D8453-E421-427C-AB00-6A2A8B341854}" dt="2023-05-18T16:07:00.111" v="1715" actId="21"/>
          <ac:picMkLst>
            <pc:docMk/>
            <pc:sldMk cId="2884668348" sldId="410"/>
            <ac:picMk id="4" creationId="{32E636BF-B337-6CC8-A142-2F61EA4EA019}"/>
          </ac:picMkLst>
        </pc:picChg>
      </pc:sldChg>
      <pc:sldChg chg="addSp delSp modSp add del mod ord modShow">
        <pc:chgData name="Dominik Buchegger" userId="4419538d-6150-464b-ac11-eb0323261855" providerId="ADAL" clId="{7A5D8453-E421-427C-AB00-6A2A8B341854}" dt="2023-05-18T16:15:31.406" v="1950" actId="47"/>
        <pc:sldMkLst>
          <pc:docMk/>
          <pc:sldMk cId="4065149498" sldId="411"/>
        </pc:sldMkLst>
        <pc:spChg chg="mod">
          <ac:chgData name="Dominik Buchegger" userId="4419538d-6150-464b-ac11-eb0323261855" providerId="ADAL" clId="{7A5D8453-E421-427C-AB00-6A2A8B341854}" dt="2023-05-18T16:06:40.016" v="1691" actId="20577"/>
          <ac:spMkLst>
            <pc:docMk/>
            <pc:sldMk cId="4065149498" sldId="411"/>
            <ac:spMk id="2" creationId="{AA44CC23-93C2-969D-52AE-42A92D4BCF7A}"/>
          </ac:spMkLst>
        </pc:spChg>
        <pc:spChg chg="add mod">
          <ac:chgData name="Dominik Buchegger" userId="4419538d-6150-464b-ac11-eb0323261855" providerId="ADAL" clId="{7A5D8453-E421-427C-AB00-6A2A8B341854}" dt="2023-05-18T16:06:20.051" v="1649"/>
          <ac:spMkLst>
            <pc:docMk/>
            <pc:sldMk cId="4065149498" sldId="411"/>
            <ac:spMk id="3" creationId="{273CA3D6-9358-ADC0-6AAF-0D3EAE11E175}"/>
          </ac:spMkLst>
        </pc:spChg>
        <pc:spChg chg="del">
          <ac:chgData name="Dominik Buchegger" userId="4419538d-6150-464b-ac11-eb0323261855" providerId="ADAL" clId="{7A5D8453-E421-427C-AB00-6A2A8B341854}" dt="2023-05-18T16:06:11.371" v="1647" actId="478"/>
          <ac:spMkLst>
            <pc:docMk/>
            <pc:sldMk cId="4065149498" sldId="411"/>
            <ac:spMk id="7" creationId="{9675CF34-1230-7C58-FDE8-FE7454CF1AC0}"/>
          </ac:spMkLst>
        </pc:spChg>
        <pc:picChg chg="mod">
          <ac:chgData name="Dominik Buchegger" userId="4419538d-6150-464b-ac11-eb0323261855" providerId="ADAL" clId="{7A5D8453-E421-427C-AB00-6A2A8B341854}" dt="2023-05-18T16:06:14.613" v="1648" actId="1076"/>
          <ac:picMkLst>
            <pc:docMk/>
            <pc:sldMk cId="4065149498" sldId="411"/>
            <ac:picMk id="6" creationId="{826D9988-B64A-83B4-583F-5F3D249A88F7}"/>
          </ac:picMkLst>
        </pc:picChg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134760861" sldId="412"/>
        </pc:sldMkLst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732642395" sldId="413"/>
        </pc:sldMkLst>
      </pc:sldChg>
      <pc:sldChg chg="add del mod ord modShow">
        <pc:chgData name="Dominik Buchegger" userId="4419538d-6150-464b-ac11-eb0323261855" providerId="ADAL" clId="{7A5D8453-E421-427C-AB00-6A2A8B341854}" dt="2023-05-18T16:17:33.498" v="1991" actId="47"/>
        <pc:sldMkLst>
          <pc:docMk/>
          <pc:sldMk cId="1975690118" sldId="414"/>
        </pc:sldMkLst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3101854392" sldId="415"/>
        </pc:sldMkLst>
      </pc:sldChg>
      <pc:sldChg chg="modSp mod">
        <pc:chgData name="Dominik Buchegger" userId="4419538d-6150-464b-ac11-eb0323261855" providerId="ADAL" clId="{7A5D8453-E421-427C-AB00-6A2A8B341854}" dt="2023-05-12T21:03:10.323" v="1249" actId="404"/>
        <pc:sldMkLst>
          <pc:docMk/>
          <pc:sldMk cId="2946332310" sldId="1460"/>
        </pc:sldMkLst>
        <pc:spChg chg="mod">
          <ac:chgData name="Dominik Buchegger" userId="4419538d-6150-464b-ac11-eb0323261855" providerId="ADAL" clId="{7A5D8453-E421-427C-AB00-6A2A8B341854}" dt="2023-05-12T21:03:10.323" v="1249" actId="404"/>
          <ac:spMkLst>
            <pc:docMk/>
            <pc:sldMk cId="2946332310" sldId="1460"/>
            <ac:spMk id="2" creationId="{38C104DD-55A5-D5D7-68B1-A81097757DA7}"/>
          </ac:spMkLst>
        </pc:spChg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3241705055" sldId="1537"/>
        </pc:sldMkLst>
      </pc:sldChg>
      <pc:sldChg chg="del ord">
        <pc:chgData name="Dominik Buchegger" userId="4419538d-6150-464b-ac11-eb0323261855" providerId="ADAL" clId="{7A5D8453-E421-427C-AB00-6A2A8B341854}" dt="2023-05-12T21:01:44.713" v="1232" actId="47"/>
        <pc:sldMkLst>
          <pc:docMk/>
          <pc:sldMk cId="3555160724" sldId="1551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1200067128" sldId="1588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3691471691" sldId="1589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4083298857" sldId="1590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654984513" sldId="1591"/>
        </pc:sldMkLst>
      </pc:sldChg>
      <pc:sldChg chg="modSp add mod ord">
        <pc:chgData name="Dominik Buchegger" userId="4419538d-6150-464b-ac11-eb0323261855" providerId="ADAL" clId="{7A5D8453-E421-427C-AB00-6A2A8B341854}" dt="2023-05-12T21:01:33.835" v="1231" actId="20577"/>
        <pc:sldMkLst>
          <pc:docMk/>
          <pc:sldMk cId="4075358184" sldId="1592"/>
        </pc:sldMkLst>
        <pc:spChg chg="mod">
          <ac:chgData name="Dominik Buchegger" userId="4419538d-6150-464b-ac11-eb0323261855" providerId="ADAL" clId="{7A5D8453-E421-427C-AB00-6A2A8B341854}" dt="2023-05-12T21:01:33.835" v="1231" actId="20577"/>
          <ac:spMkLst>
            <pc:docMk/>
            <pc:sldMk cId="4075358184" sldId="1592"/>
            <ac:spMk id="2" creationId="{A92E3E48-FF8A-5E4C-67CC-8B0608A09C2C}"/>
          </ac:spMkLst>
        </pc:spChg>
      </pc:sldChg>
      <pc:sldChg chg="addSp delSp modSp add mod ord modClrScheme chgLayout">
        <pc:chgData name="Dominik Buchegger" userId="4419538d-6150-464b-ac11-eb0323261855" providerId="ADAL" clId="{7A5D8453-E421-427C-AB00-6A2A8B341854}" dt="2023-05-18T15:50:59.720" v="1276" actId="113"/>
        <pc:sldMkLst>
          <pc:docMk/>
          <pc:sldMk cId="2700026834" sldId="1593"/>
        </pc:sldMkLst>
        <pc:spChg chg="del">
          <ac:chgData name="Dominik Buchegger" userId="4419538d-6150-464b-ac11-eb0323261855" providerId="ADAL" clId="{7A5D8453-E421-427C-AB00-6A2A8B341854}" dt="2023-05-11T16:10:26.911" v="67" actId="478"/>
          <ac:spMkLst>
            <pc:docMk/>
            <pc:sldMk cId="2700026834" sldId="1593"/>
            <ac:spMk id="2" creationId="{DF770251-C66F-37B2-FA29-31FE5C038085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4" creationId="{B9ADA6DF-7210-51C0-FF3B-4ADB643A42C6}"/>
          </ac:spMkLst>
        </pc:spChg>
        <pc:spChg chg="add mod ord">
          <ac:chgData name="Dominik Buchegger" userId="4419538d-6150-464b-ac11-eb0323261855" providerId="ADAL" clId="{7A5D8453-E421-427C-AB00-6A2A8B341854}" dt="2023-05-18T15:50:59.720" v="1276" actId="113"/>
          <ac:spMkLst>
            <pc:docMk/>
            <pc:sldMk cId="2700026834" sldId="1593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7" creationId="{F666E8F7-8B25-B437-131E-F8882B62E16E}"/>
          </ac:spMkLst>
        </pc:spChg>
      </pc:sldChg>
      <pc:sldChg chg="addSp delSp modSp add mod modClrScheme chgLayout">
        <pc:chgData name="Dominik Buchegger" userId="4419538d-6150-464b-ac11-eb0323261855" providerId="ADAL" clId="{7A5D8453-E421-427C-AB00-6A2A8B341854}" dt="2023-05-18T15:54:58.116" v="1397" actId="20577"/>
        <pc:sldMkLst>
          <pc:docMk/>
          <pc:sldMk cId="1141813345" sldId="1594"/>
        </pc:sldMkLst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2" creationId="{008B0052-707D-7637-3939-54FE796812DD}"/>
          </ac:spMkLst>
        </pc:spChg>
        <pc:spChg chg="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4" creationId="{B9ADA6DF-7210-51C0-FF3B-4ADB643A42C6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5" creationId="{38E673CD-3123-A1FE-9EAD-0E16703FD2FE}"/>
          </ac:spMkLst>
        </pc:spChg>
        <pc:spChg chg="add del mod">
          <ac:chgData name="Dominik Buchegger" userId="4419538d-6150-464b-ac11-eb0323261855" providerId="ADAL" clId="{7A5D8453-E421-427C-AB00-6A2A8B341854}" dt="2023-05-18T15:51:59.618" v="1328" actId="21"/>
          <ac:spMkLst>
            <pc:docMk/>
            <pc:sldMk cId="1141813345" sldId="1594"/>
            <ac:spMk id="5" creationId="{44D925B8-51D3-D904-866D-9AA1530D4CBB}"/>
          </ac:spMkLst>
        </pc:spChg>
        <pc:spChg chg="add del mod ord">
          <ac:chgData name="Dominik Buchegger" userId="4419538d-6150-464b-ac11-eb0323261855" providerId="ADAL" clId="{7A5D8453-E421-427C-AB00-6A2A8B341854}" dt="2023-05-18T15:53:29.120" v="1342" actId="20577"/>
          <ac:spMkLst>
            <pc:docMk/>
            <pc:sldMk cId="1141813345" sldId="1594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31:27.773" v="193"/>
          <ac:spMkLst>
            <pc:docMk/>
            <pc:sldMk cId="1141813345" sldId="1594"/>
            <ac:spMk id="7" creationId="{F666E8F7-8B25-B437-131E-F8882B62E16E}"/>
          </ac:spMkLst>
        </pc:spChg>
        <pc:spChg chg="add del mod">
          <ac:chgData name="Dominik Buchegger" userId="4419538d-6150-464b-ac11-eb0323261855" providerId="ADAL" clId="{7A5D8453-E421-427C-AB00-6A2A8B341854}" dt="2023-05-18T15:51:58.390" v="1327"/>
          <ac:spMkLst>
            <pc:docMk/>
            <pc:sldMk cId="1141813345" sldId="1594"/>
            <ac:spMk id="8" creationId="{A46C5E33-526C-1052-3DE1-911906E102EE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8" creationId="{E1D4E4AD-6A2A-75F9-2F7D-D88DCF083421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9" creationId="{8DF87D08-32B1-BCEB-F5ED-EEF53993B266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0" creationId="{AC27A936-05E8-50A9-F824-4B99A5BE5EE3}"/>
          </ac:spMkLst>
        </pc:spChg>
        <pc:spChg chg="add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1" creationId="{0DB6D069-1D77-4C88-C189-E8FE5763452A}"/>
          </ac:spMkLst>
        </pc:spChg>
        <pc:spChg chg="add mod ord">
          <ac:chgData name="Dominik Buchegger" userId="4419538d-6150-464b-ac11-eb0323261855" providerId="ADAL" clId="{7A5D8453-E421-427C-AB00-6A2A8B341854}" dt="2023-05-18T15:54:58.116" v="1397" actId="20577"/>
          <ac:spMkLst>
            <pc:docMk/>
            <pc:sldMk cId="1141813345" sldId="1594"/>
            <ac:spMk id="12" creationId="{C513F207-F800-C008-7AFD-F9449CE02BE1}"/>
          </ac:spMkLst>
        </pc:spChg>
        <pc:spChg chg="add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3" creationId="{860FC74D-4005-AB9D-7019-6C785BABBE18}"/>
          </ac:spMkLst>
        </pc:spChg>
        <pc:spChg chg="add mod">
          <ac:chgData name="Dominik Buchegger" userId="4419538d-6150-464b-ac11-eb0323261855" providerId="ADAL" clId="{7A5D8453-E421-427C-AB00-6A2A8B341854}" dt="2023-05-12T20:33:47.266" v="225" actId="14100"/>
          <ac:spMkLst>
            <pc:docMk/>
            <pc:sldMk cId="1141813345" sldId="1594"/>
            <ac:spMk id="15" creationId="{A8F3C679-7F89-6D07-35A8-C79D9736BDFC}"/>
          </ac:spMkLst>
        </pc:spChg>
        <pc:picChg chg="add mod modCrop">
          <ac:chgData name="Dominik Buchegger" userId="4419538d-6150-464b-ac11-eb0323261855" providerId="ADAL" clId="{7A5D8453-E421-427C-AB00-6A2A8B341854}" dt="2023-05-18T15:53:24.337" v="1338" actId="732"/>
          <ac:picMkLst>
            <pc:docMk/>
            <pc:sldMk cId="1141813345" sldId="1594"/>
            <ac:picMk id="14" creationId="{3781DCDF-839C-300D-0718-EA95A22A3E6E}"/>
          </ac:picMkLst>
        </pc:picChg>
      </pc:sldChg>
      <pc:sldChg chg="addSp delSp modSp add mod modClrScheme chgLayout">
        <pc:chgData name="Dominik Buchegger" userId="4419538d-6150-464b-ac11-eb0323261855" providerId="ADAL" clId="{7A5D8453-E421-427C-AB00-6A2A8B341854}" dt="2023-05-18T15:59:02.502" v="1518" actId="20577"/>
        <pc:sldMkLst>
          <pc:docMk/>
          <pc:sldMk cId="3936300900" sldId="1595"/>
        </pc:sldMkLst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4" creationId="{B9ADA6DF-7210-51C0-FF3B-4ADB643A42C6}"/>
          </ac:spMkLst>
        </pc:spChg>
        <pc:spChg chg="add mod ord">
          <ac:chgData name="Dominik Buchegger" userId="4419538d-6150-464b-ac11-eb0323261855" providerId="ADAL" clId="{7A5D8453-E421-427C-AB00-6A2A8B341854}" dt="2023-05-12T20:45:00.477" v="524" actId="6549"/>
          <ac:spMkLst>
            <pc:docMk/>
            <pc:sldMk cId="3936300900" sldId="1595"/>
            <ac:spMk id="5" creationId="{32429783-15C9-9A75-A60B-85FC9A9AFBB2}"/>
          </ac:spMkLst>
        </pc:spChg>
        <pc:spChg chg="del mod or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7" creationId="{F666E8F7-8B25-B437-131E-F8882B62E16E}"/>
          </ac:spMkLst>
        </pc:spChg>
        <pc:spChg chg="add del mod ord">
          <ac:chgData name="Dominik Buchegger" userId="4419538d-6150-464b-ac11-eb0323261855" providerId="ADAL" clId="{7A5D8453-E421-427C-AB00-6A2A8B341854}" dt="2023-05-12T20:38:12.238" v="302" actId="700"/>
          <ac:spMkLst>
            <pc:docMk/>
            <pc:sldMk cId="3936300900" sldId="1595"/>
            <ac:spMk id="8" creationId="{53EDAA6B-39F9-ED05-3D23-D2647155408B}"/>
          </ac:spMkLst>
        </pc:spChg>
        <pc:spChg chg="add mod">
          <ac:chgData name="Dominik Buchegger" userId="4419538d-6150-464b-ac11-eb0323261855" providerId="ADAL" clId="{7A5D8453-E421-427C-AB00-6A2A8B341854}" dt="2023-05-12T20:39:25.365" v="316" actId="1076"/>
          <ac:spMkLst>
            <pc:docMk/>
            <pc:sldMk cId="3936300900" sldId="1595"/>
            <ac:spMk id="9" creationId="{9CBC0E5A-E671-FB6E-AF04-BC13B1D17C1E}"/>
          </ac:spMkLst>
        </pc:spChg>
        <pc:spChg chg="add mod ord">
          <ac:chgData name="Dominik Buchegger" userId="4419538d-6150-464b-ac11-eb0323261855" providerId="ADAL" clId="{7A5D8453-E421-427C-AB00-6A2A8B341854}" dt="2023-05-18T15:59:02.502" v="1518" actId="20577"/>
          <ac:spMkLst>
            <pc:docMk/>
            <pc:sldMk cId="3936300900" sldId="1595"/>
            <ac:spMk id="10" creationId="{B85A0B36-9456-E980-13A3-C81C3A141A4D}"/>
          </ac:spMkLst>
        </pc:spChg>
        <pc:spChg chg="del mod or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1" creationId="{0DB6D069-1D77-4C88-C189-E8FE5763452A}"/>
          </ac:spMkLst>
        </pc:spChg>
        <pc:spChg chg="del mo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2" creationId="{C513F207-F800-C008-7AFD-F9449CE02BE1}"/>
          </ac:spMkLst>
        </pc:spChg>
        <pc:spChg chg="del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3" creationId="{860FC74D-4005-AB9D-7019-6C785BABBE18}"/>
          </ac:spMkLst>
        </pc:spChg>
        <pc:spChg chg="del">
          <ac:chgData name="Dominik Buchegger" userId="4419538d-6150-464b-ac11-eb0323261855" providerId="ADAL" clId="{7A5D8453-E421-427C-AB00-6A2A8B341854}" dt="2023-05-12T20:32:32.442" v="211" actId="478"/>
          <ac:spMkLst>
            <pc:docMk/>
            <pc:sldMk cId="3936300900" sldId="1595"/>
            <ac:spMk id="15" creationId="{A8F3C679-7F89-6D07-35A8-C79D9736BDFC}"/>
          </ac:spMkLst>
        </pc:spChg>
        <pc:spChg chg="add del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6" creationId="{FCBF9EA7-8F9C-E4F6-41F5-4BF0F6F6E4AF}"/>
          </ac:spMkLst>
        </pc:spChg>
        <pc:spChg chg="add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7" creationId="{AB6A11CA-9E6E-33E8-5936-E0BD8C743047}"/>
          </ac:spMkLst>
        </pc:spChg>
        <pc:spChg chg="add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8" creationId="{00D02138-E10B-E067-9381-25A3EE78B8DF}"/>
          </ac:spMkLst>
        </pc:spChg>
        <pc:spChg chg="add mod">
          <ac:chgData name="Dominik Buchegger" userId="4419538d-6150-464b-ac11-eb0323261855" providerId="ADAL" clId="{7A5D8453-E421-427C-AB00-6A2A8B341854}" dt="2023-05-12T20:45:16.483" v="526" actId="207"/>
          <ac:spMkLst>
            <pc:docMk/>
            <pc:sldMk cId="3936300900" sldId="1595"/>
            <ac:spMk id="19" creationId="{52C1F1DC-D985-BE17-3A9C-14589F9AE77C}"/>
          </ac:spMkLst>
        </pc:spChg>
        <pc:picChg chg="add mod modCrop">
          <ac:chgData name="Dominik Buchegger" userId="4419538d-6150-464b-ac11-eb0323261855" providerId="ADAL" clId="{7A5D8453-E421-427C-AB00-6A2A8B341854}" dt="2023-05-12T20:39:28.106" v="317" actId="1076"/>
          <ac:picMkLst>
            <pc:docMk/>
            <pc:sldMk cId="3936300900" sldId="1595"/>
            <ac:picMk id="2" creationId="{A0CDB11B-21AD-A561-DEBE-6880F3E4E300}"/>
          </ac:picMkLst>
        </pc:picChg>
        <pc:picChg chg="del">
          <ac:chgData name="Dominik Buchegger" userId="4419538d-6150-464b-ac11-eb0323261855" providerId="ADAL" clId="{7A5D8453-E421-427C-AB00-6A2A8B341854}" dt="2023-05-12T20:32:29.782" v="210" actId="478"/>
          <ac:picMkLst>
            <pc:docMk/>
            <pc:sldMk cId="3936300900" sldId="1595"/>
            <ac:picMk id="14" creationId="{3781DCDF-839C-300D-0718-EA95A22A3E6E}"/>
          </ac:picMkLst>
        </pc:picChg>
      </pc:sldChg>
      <pc:sldChg chg="delSp modSp add del mod modClrScheme chgLayout">
        <pc:chgData name="Dominik Buchegger" userId="4419538d-6150-464b-ac11-eb0323261855" providerId="ADAL" clId="{7A5D8453-E421-427C-AB00-6A2A8B341854}" dt="2023-05-12T20:53:55.086" v="1076" actId="47"/>
        <pc:sldMkLst>
          <pc:docMk/>
          <pc:sldMk cId="3487652080" sldId="1596"/>
        </pc:sldMkLst>
        <pc:spChg chg="mod ord">
          <ac:chgData name="Dominik Buchegger" userId="4419538d-6150-464b-ac11-eb0323261855" providerId="ADAL" clId="{7A5D8453-E421-427C-AB00-6A2A8B341854}" dt="2023-05-12T20:47:11.705" v="552" actId="20577"/>
          <ac:spMkLst>
            <pc:docMk/>
            <pc:sldMk cId="3487652080" sldId="1596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4" creationId="{B9ADA6DF-7210-51C0-FF3B-4ADB643A42C6}"/>
          </ac:spMkLst>
        </pc:spChg>
        <pc:spChg chg="mod ord">
          <ac:chgData name="Dominik Buchegger" userId="4419538d-6150-464b-ac11-eb0323261855" providerId="ADAL" clId="{7A5D8453-E421-427C-AB00-6A2A8B341854}" dt="2023-05-12T20:52:19.575" v="1051" actId="20577"/>
          <ac:spMkLst>
            <pc:docMk/>
            <pc:sldMk cId="3487652080" sldId="1596"/>
            <ac:spMk id="5" creationId="{32429783-15C9-9A75-A60B-85FC9A9AFBB2}"/>
          </ac:spMkLst>
        </pc:spChg>
        <pc:spChg chg="mod ord">
          <ac:chgData name="Dominik Buchegger" userId="4419538d-6150-464b-ac11-eb0323261855" providerId="ADAL" clId="{7A5D8453-E421-427C-AB00-6A2A8B341854}" dt="2023-05-12T20:52:30.457" v="1060" actId="20577"/>
          <ac:spMkLst>
            <pc:docMk/>
            <pc:sldMk cId="3487652080" sldId="1596"/>
            <ac:spMk id="7" creationId="{F666E8F7-8B25-B437-131E-F8882B62E16E}"/>
          </ac:spMkLst>
        </pc:spChg>
        <pc:spChg chg="del">
          <ac:chgData name="Dominik Buchegger" userId="4419538d-6150-464b-ac11-eb0323261855" providerId="ADAL" clId="{7A5D8453-E421-427C-AB00-6A2A8B341854}" dt="2023-05-12T20:45:50.535" v="533" actId="478"/>
          <ac:spMkLst>
            <pc:docMk/>
            <pc:sldMk cId="3487652080" sldId="1596"/>
            <ac:spMk id="9" creationId="{9CBC0E5A-E671-FB6E-AF04-BC13B1D17C1E}"/>
          </ac:spMkLst>
        </pc:spChg>
        <pc:spChg chg="del mod ord">
          <ac:chgData name="Dominik Buchegger" userId="4419538d-6150-464b-ac11-eb0323261855" providerId="ADAL" clId="{7A5D8453-E421-427C-AB00-6A2A8B341854}" dt="2023-05-12T20:45:45.035" v="530" actId="478"/>
          <ac:spMkLst>
            <pc:docMk/>
            <pc:sldMk cId="3487652080" sldId="1596"/>
            <ac:spMk id="10" creationId="{B85A0B36-9456-E980-13A3-C81C3A141A4D}"/>
          </ac:spMkLst>
        </pc:spChg>
        <pc:spChg chg="del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17" creationId="{AB6A11CA-9E6E-33E8-5936-E0BD8C743047}"/>
          </ac:spMkLst>
        </pc:spChg>
        <pc:spChg chg="del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18" creationId="{00D02138-E10B-E067-9381-25A3EE78B8DF}"/>
          </ac:spMkLst>
        </pc:spChg>
        <pc:spChg chg="del">
          <ac:chgData name="Dominik Buchegger" userId="4419538d-6150-464b-ac11-eb0323261855" providerId="ADAL" clId="{7A5D8453-E421-427C-AB00-6A2A8B341854}" dt="2023-05-12T20:45:47.546" v="531" actId="478"/>
          <ac:spMkLst>
            <pc:docMk/>
            <pc:sldMk cId="3487652080" sldId="1596"/>
            <ac:spMk id="19" creationId="{52C1F1DC-D985-BE17-3A9C-14589F9AE77C}"/>
          </ac:spMkLst>
        </pc:spChg>
        <pc:picChg chg="del">
          <ac:chgData name="Dominik Buchegger" userId="4419538d-6150-464b-ac11-eb0323261855" providerId="ADAL" clId="{7A5D8453-E421-427C-AB00-6A2A8B341854}" dt="2023-05-12T20:45:48.538" v="532" actId="478"/>
          <ac:picMkLst>
            <pc:docMk/>
            <pc:sldMk cId="3487652080" sldId="1596"/>
            <ac:picMk id="2" creationId="{A0CDB11B-21AD-A561-DEBE-6880F3E4E300}"/>
          </ac:picMkLst>
        </pc:picChg>
      </pc:sldChg>
      <pc:sldChg chg="addSp modSp add mod">
        <pc:chgData name="Dominik Buchegger" userId="4419538d-6150-464b-ac11-eb0323261855" providerId="ADAL" clId="{7A5D8453-E421-427C-AB00-6A2A8B341854}" dt="2023-05-18T16:29:00.719" v="2210" actId="14100"/>
        <pc:sldMkLst>
          <pc:docMk/>
          <pc:sldMk cId="2896078009" sldId="1597"/>
        </pc:sldMkLst>
        <pc:spChg chg="add mod">
          <ac:chgData name="Dominik Buchegger" userId="4419538d-6150-464b-ac11-eb0323261855" providerId="ADAL" clId="{7A5D8453-E421-427C-AB00-6A2A8B341854}" dt="2023-05-18T16:29:00.719" v="2210" actId="14100"/>
          <ac:spMkLst>
            <pc:docMk/>
            <pc:sldMk cId="2896078009" sldId="1597"/>
            <ac:spMk id="2" creationId="{02E84269-6B6E-BBF8-FA53-C4A903406C58}"/>
          </ac:spMkLst>
        </pc:spChg>
        <pc:spChg chg="mod">
          <ac:chgData name="Dominik Buchegger" userId="4419538d-6150-464b-ac11-eb0323261855" providerId="ADAL" clId="{7A5D8453-E421-427C-AB00-6A2A8B341854}" dt="2023-05-18T16:27:16.065" v="2013" actId="207"/>
          <ac:spMkLst>
            <pc:docMk/>
            <pc:sldMk cId="2896078009" sldId="1597"/>
            <ac:spMk id="5" creationId="{32429783-15C9-9A75-A60B-85FC9A9AFBB2}"/>
          </ac:spMkLst>
        </pc:spChg>
        <pc:spChg chg="add mod">
          <ac:chgData name="Dominik Buchegger" userId="4419538d-6150-464b-ac11-eb0323261855" providerId="ADAL" clId="{7A5D8453-E421-427C-AB00-6A2A8B341854}" dt="2023-05-18T16:28:30.315" v="2161" actId="1076"/>
          <ac:spMkLst>
            <pc:docMk/>
            <pc:sldMk cId="2896078009" sldId="1597"/>
            <ac:spMk id="6" creationId="{76720340-B670-4D31-2029-F681F8FCBAEE}"/>
          </ac:spMkLst>
        </pc:spChg>
        <pc:spChg chg="mod">
          <ac:chgData name="Dominik Buchegger" userId="4419538d-6150-464b-ac11-eb0323261855" providerId="ADAL" clId="{7A5D8453-E421-427C-AB00-6A2A8B341854}" dt="2023-05-18T16:28:51.021" v="2208" actId="20577"/>
          <ac:spMkLst>
            <pc:docMk/>
            <pc:sldMk cId="2896078009" sldId="1597"/>
            <ac:spMk id="7" creationId="{F666E8F7-8B25-B437-131E-F8882B62E16E}"/>
          </ac:spMkLst>
        </pc:spChg>
      </pc:sldChg>
      <pc:sldChg chg="addSp delSp modSp add mod">
        <pc:chgData name="Dominik Buchegger" userId="4419538d-6150-464b-ac11-eb0323261855" providerId="ADAL" clId="{7A5D8453-E421-427C-AB00-6A2A8B341854}" dt="2023-05-18T16:16:13.762" v="1982" actId="1076"/>
        <pc:sldMkLst>
          <pc:docMk/>
          <pc:sldMk cId="2801688374" sldId="1599"/>
        </pc:sldMkLst>
        <pc:spChg chg="mod">
          <ac:chgData name="Dominik Buchegger" userId="4419538d-6150-464b-ac11-eb0323261855" providerId="ADAL" clId="{7A5D8453-E421-427C-AB00-6A2A8B341854}" dt="2023-05-18T16:15:45.784" v="1977" actId="20577"/>
          <ac:spMkLst>
            <pc:docMk/>
            <pc:sldMk cId="2801688374" sldId="1599"/>
            <ac:spMk id="2" creationId="{AA44CC23-93C2-969D-52AE-42A92D4BCF7A}"/>
          </ac:spMkLst>
        </pc:spChg>
        <pc:spChg chg="add mod">
          <ac:chgData name="Dominik Buchegger" userId="4419538d-6150-464b-ac11-eb0323261855" providerId="ADAL" clId="{7A5D8453-E421-427C-AB00-6A2A8B341854}" dt="2023-05-18T16:16:13.762" v="1982" actId="1076"/>
          <ac:spMkLst>
            <pc:docMk/>
            <pc:sldMk cId="2801688374" sldId="1599"/>
            <ac:spMk id="7" creationId="{B48A4E5E-0DC3-B2B2-ED95-221F673D0205}"/>
          </ac:spMkLst>
        </pc:spChg>
        <pc:picChg chg="add mod modCrop">
          <ac:chgData name="Dominik Buchegger" userId="4419538d-6150-464b-ac11-eb0323261855" providerId="ADAL" clId="{7A5D8453-E421-427C-AB00-6A2A8B341854}" dt="2023-05-18T16:16:04.158" v="1979" actId="1076"/>
          <ac:picMkLst>
            <pc:docMk/>
            <pc:sldMk cId="2801688374" sldId="1599"/>
            <ac:picMk id="4" creationId="{DD7177DD-8288-7529-1654-318ED9A8DF22}"/>
          </ac:picMkLst>
        </pc:picChg>
        <pc:picChg chg="del">
          <ac:chgData name="Dominik Buchegger" userId="4419538d-6150-464b-ac11-eb0323261855" providerId="ADAL" clId="{7A5D8453-E421-427C-AB00-6A2A8B341854}" dt="2023-05-18T16:07:07.780" v="1718" actId="478"/>
          <ac:picMkLst>
            <pc:docMk/>
            <pc:sldMk cId="2801688374" sldId="1599"/>
            <ac:picMk id="6" creationId="{826D9988-B64A-83B4-583F-5F3D249A88F7}"/>
          </ac:picMkLst>
        </pc:picChg>
      </pc:sldChg>
      <pc:sldChg chg="modSp add mod">
        <pc:chgData name="Dominik Buchegger" userId="4419538d-6150-464b-ac11-eb0323261855" providerId="ADAL" clId="{7A5D8453-E421-427C-AB00-6A2A8B341854}" dt="2023-05-18T16:17:12.918" v="1989" actId="1076"/>
        <pc:sldMkLst>
          <pc:docMk/>
          <pc:sldMk cId="1858774771" sldId="1600"/>
        </pc:sldMkLst>
        <pc:spChg chg="mod">
          <ac:chgData name="Dominik Buchegger" userId="4419538d-6150-464b-ac11-eb0323261855" providerId="ADAL" clId="{7A5D8453-E421-427C-AB00-6A2A8B341854}" dt="2023-05-18T16:12:52.413" v="1949" actId="20577"/>
          <ac:spMkLst>
            <pc:docMk/>
            <pc:sldMk cId="1858774771" sldId="1600"/>
            <ac:spMk id="2" creationId="{AA44CC23-93C2-969D-52AE-42A92D4BCF7A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7" creationId="{A19B1494-4942-B992-03C3-9068C885E925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11" creationId="{9A545D68-3236-0258-39E0-F2E59F8027C1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15" creationId="{F972CCA4-B13B-9C70-1448-5D41E53A27B7}"/>
          </ac:spMkLst>
        </pc:spChg>
        <pc:picChg chg="mod">
          <ac:chgData name="Dominik Buchegger" userId="4419538d-6150-464b-ac11-eb0323261855" providerId="ADAL" clId="{7A5D8453-E421-427C-AB00-6A2A8B341854}" dt="2023-05-18T16:17:12.918" v="1989" actId="1076"/>
          <ac:picMkLst>
            <pc:docMk/>
            <pc:sldMk cId="1858774771" sldId="1600"/>
            <ac:picMk id="4" creationId="{E7A55A6A-2ECC-C9E4-754E-47BA8B6D0ACD}"/>
          </ac:picMkLst>
        </pc:picChg>
      </pc:sldChg>
    </pc:docChg>
  </pc:docChgLst>
  <pc:docChgLst>
    <pc:chgData name="Burch, Michael" userId="c61bac37-f303-4899-91e4-95e7d9e47247" providerId="ADAL" clId="{350F6923-3425-E74A-9082-1F6A58783646}"/>
    <pc:docChg chg="undo custSel addSld delSld modSld sldOrd">
      <pc:chgData name="Burch, Michael" userId="c61bac37-f303-4899-91e4-95e7d9e47247" providerId="ADAL" clId="{350F6923-3425-E74A-9082-1F6A58783646}" dt="2023-05-11T08:35:46.401" v="416" actId="27636"/>
      <pc:docMkLst>
        <pc:docMk/>
      </pc:docMkLst>
      <pc:sldChg chg="del">
        <pc:chgData name="Burch, Michael" userId="c61bac37-f303-4899-91e4-95e7d9e47247" providerId="ADAL" clId="{350F6923-3425-E74A-9082-1F6A58783646}" dt="2023-05-11T07:43:02.001" v="3" actId="2696"/>
        <pc:sldMkLst>
          <pc:docMk/>
          <pc:sldMk cId="2597776529" sldId="288"/>
        </pc:sldMkLst>
      </pc:sldChg>
      <pc:sldChg chg="modSp mod">
        <pc:chgData name="Burch, Michael" userId="c61bac37-f303-4899-91e4-95e7d9e47247" providerId="ADAL" clId="{350F6923-3425-E74A-9082-1F6A58783646}" dt="2023-05-11T08:16:10.069" v="251" actId="1076"/>
        <pc:sldMkLst>
          <pc:docMk/>
          <pc:sldMk cId="3241705055" sldId="1537"/>
        </pc:sldMkLst>
        <pc:spChg chg="mod">
          <ac:chgData name="Burch, Michael" userId="c61bac37-f303-4899-91e4-95e7d9e47247" providerId="ADAL" clId="{350F6923-3425-E74A-9082-1F6A58783646}" dt="2023-05-11T08:16:10.069" v="251" actId="1076"/>
          <ac:spMkLst>
            <pc:docMk/>
            <pc:sldMk cId="3241705055" sldId="1537"/>
            <ac:spMk id="2" creationId="{A92E3E48-FF8A-5E4C-67CC-8B0608A09C2C}"/>
          </ac:spMkLst>
        </pc:spChg>
      </pc:sldChg>
      <pc:sldChg chg="modSp mod">
        <pc:chgData name="Burch, Michael" userId="c61bac37-f303-4899-91e4-95e7d9e47247" providerId="ADAL" clId="{350F6923-3425-E74A-9082-1F6A58783646}" dt="2023-05-11T08:35:46.401" v="416" actId="27636"/>
        <pc:sldMkLst>
          <pc:docMk/>
          <pc:sldMk cId="3555160724" sldId="1551"/>
        </pc:sldMkLst>
        <pc:spChg chg="mod">
          <ac:chgData name="Burch, Michael" userId="c61bac37-f303-4899-91e4-95e7d9e47247" providerId="ADAL" clId="{350F6923-3425-E74A-9082-1F6A58783646}" dt="2023-05-11T08:35:46.401" v="416" actId="27636"/>
          <ac:spMkLst>
            <pc:docMk/>
            <pc:sldMk cId="3555160724" sldId="1551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7:46:49.850" v="36" actId="20577"/>
          <ac:spMkLst>
            <pc:docMk/>
            <pc:sldMk cId="3555160724" sldId="1551"/>
            <ac:spMk id="3" creationId="{641BA0E1-8D6C-A9CA-73FE-3B2AE7D021E4}"/>
          </ac:spMkLst>
        </pc:spChg>
        <pc:spChg chg="mod">
          <ac:chgData name="Burch, Michael" userId="c61bac37-f303-4899-91e4-95e7d9e47247" providerId="ADAL" clId="{350F6923-3425-E74A-9082-1F6A58783646}" dt="2023-05-11T07:45:07.222" v="35" actId="20577"/>
          <ac:spMkLst>
            <pc:docMk/>
            <pc:sldMk cId="3555160724" sldId="1551"/>
            <ac:spMk id="7" creationId="{F666E8F7-8B25-B437-131E-F8882B62E16E}"/>
          </ac:spMkLst>
        </pc:spChg>
      </pc:sldChg>
      <pc:sldChg chg="del">
        <pc:chgData name="Burch, Michael" userId="c61bac37-f303-4899-91e4-95e7d9e47247" providerId="ADAL" clId="{350F6923-3425-E74A-9082-1F6A58783646}" dt="2023-05-11T07:43:01.074" v="1" actId="2696"/>
        <pc:sldMkLst>
          <pc:docMk/>
          <pc:sldMk cId="2741464550" sldId="1567"/>
        </pc:sldMkLst>
      </pc:sldChg>
      <pc:sldChg chg="del">
        <pc:chgData name="Burch, Michael" userId="c61bac37-f303-4899-91e4-95e7d9e47247" providerId="ADAL" clId="{350F6923-3425-E74A-9082-1F6A58783646}" dt="2023-05-11T07:43:01.620" v="2" actId="2696"/>
        <pc:sldMkLst>
          <pc:docMk/>
          <pc:sldMk cId="3246657454" sldId="1568"/>
        </pc:sldMkLst>
      </pc:sldChg>
      <pc:sldChg chg="del">
        <pc:chgData name="Burch, Michael" userId="c61bac37-f303-4899-91e4-95e7d9e47247" providerId="ADAL" clId="{350F6923-3425-E74A-9082-1F6A58783646}" dt="2023-05-11T07:43:02.506" v="4" actId="2696"/>
        <pc:sldMkLst>
          <pc:docMk/>
          <pc:sldMk cId="761030588" sldId="1570"/>
        </pc:sldMkLst>
      </pc:sldChg>
      <pc:sldChg chg="del">
        <pc:chgData name="Burch, Michael" userId="c61bac37-f303-4899-91e4-95e7d9e47247" providerId="ADAL" clId="{350F6923-3425-E74A-9082-1F6A58783646}" dt="2023-05-11T07:43:03.065" v="5" actId="2696"/>
        <pc:sldMkLst>
          <pc:docMk/>
          <pc:sldMk cId="3967757145" sldId="1571"/>
        </pc:sldMkLst>
      </pc:sldChg>
      <pc:sldChg chg="del">
        <pc:chgData name="Burch, Michael" userId="c61bac37-f303-4899-91e4-95e7d9e47247" providerId="ADAL" clId="{350F6923-3425-E74A-9082-1F6A58783646}" dt="2023-05-11T07:43:04.335" v="6" actId="2696"/>
        <pc:sldMkLst>
          <pc:docMk/>
          <pc:sldMk cId="2574699634" sldId="1572"/>
        </pc:sldMkLst>
      </pc:sldChg>
      <pc:sldChg chg="del">
        <pc:chgData name="Burch, Michael" userId="c61bac37-f303-4899-91e4-95e7d9e47247" providerId="ADAL" clId="{350F6923-3425-E74A-9082-1F6A58783646}" dt="2023-05-11T07:43:04.813" v="7" actId="2696"/>
        <pc:sldMkLst>
          <pc:docMk/>
          <pc:sldMk cId="3371461181" sldId="1573"/>
        </pc:sldMkLst>
      </pc:sldChg>
      <pc:sldChg chg="del">
        <pc:chgData name="Burch, Michael" userId="c61bac37-f303-4899-91e4-95e7d9e47247" providerId="ADAL" clId="{350F6923-3425-E74A-9082-1F6A58783646}" dt="2023-05-11T07:43:05.133" v="8" actId="2696"/>
        <pc:sldMkLst>
          <pc:docMk/>
          <pc:sldMk cId="3474089893" sldId="1574"/>
        </pc:sldMkLst>
      </pc:sldChg>
      <pc:sldChg chg="del">
        <pc:chgData name="Burch, Michael" userId="c61bac37-f303-4899-91e4-95e7d9e47247" providerId="ADAL" clId="{350F6923-3425-E74A-9082-1F6A58783646}" dt="2023-05-11T07:43:05.462" v="9" actId="2696"/>
        <pc:sldMkLst>
          <pc:docMk/>
          <pc:sldMk cId="2172075571" sldId="1575"/>
        </pc:sldMkLst>
      </pc:sldChg>
      <pc:sldChg chg="del">
        <pc:chgData name="Burch, Michael" userId="c61bac37-f303-4899-91e4-95e7d9e47247" providerId="ADAL" clId="{350F6923-3425-E74A-9082-1F6A58783646}" dt="2023-05-11T07:43:05.783" v="10" actId="2696"/>
        <pc:sldMkLst>
          <pc:docMk/>
          <pc:sldMk cId="2130080384" sldId="1576"/>
        </pc:sldMkLst>
      </pc:sldChg>
      <pc:sldChg chg="del">
        <pc:chgData name="Burch, Michael" userId="c61bac37-f303-4899-91e4-95e7d9e47247" providerId="ADAL" clId="{350F6923-3425-E74A-9082-1F6A58783646}" dt="2023-05-11T07:43:06.133" v="11" actId="2696"/>
        <pc:sldMkLst>
          <pc:docMk/>
          <pc:sldMk cId="983026212" sldId="1577"/>
        </pc:sldMkLst>
      </pc:sldChg>
      <pc:sldChg chg="del">
        <pc:chgData name="Burch, Michael" userId="c61bac37-f303-4899-91e4-95e7d9e47247" providerId="ADAL" clId="{350F6923-3425-E74A-9082-1F6A58783646}" dt="2023-05-11T07:43:07.450" v="13" actId="2696"/>
        <pc:sldMkLst>
          <pc:docMk/>
          <pc:sldMk cId="1065212487" sldId="1578"/>
        </pc:sldMkLst>
      </pc:sldChg>
      <pc:sldChg chg="del">
        <pc:chgData name="Burch, Michael" userId="c61bac37-f303-4899-91e4-95e7d9e47247" providerId="ADAL" clId="{350F6923-3425-E74A-9082-1F6A58783646}" dt="2023-05-11T07:43:09.644" v="14" actId="2696"/>
        <pc:sldMkLst>
          <pc:docMk/>
          <pc:sldMk cId="4134961369" sldId="1579"/>
        </pc:sldMkLst>
      </pc:sldChg>
      <pc:sldChg chg="del">
        <pc:chgData name="Burch, Michael" userId="c61bac37-f303-4899-91e4-95e7d9e47247" providerId="ADAL" clId="{350F6923-3425-E74A-9082-1F6A58783646}" dt="2023-05-11T07:43:10.792" v="15" actId="2696"/>
        <pc:sldMkLst>
          <pc:docMk/>
          <pc:sldMk cId="2538237896" sldId="1580"/>
        </pc:sldMkLst>
      </pc:sldChg>
      <pc:sldChg chg="del">
        <pc:chgData name="Burch, Michael" userId="c61bac37-f303-4899-91e4-95e7d9e47247" providerId="ADAL" clId="{350F6923-3425-E74A-9082-1F6A58783646}" dt="2023-05-11T07:47:54.187" v="68" actId="2696"/>
        <pc:sldMkLst>
          <pc:docMk/>
          <pc:sldMk cId="1105918467" sldId="1581"/>
        </pc:sldMkLst>
      </pc:sldChg>
      <pc:sldChg chg="del">
        <pc:chgData name="Burch, Michael" userId="c61bac37-f303-4899-91e4-95e7d9e47247" providerId="ADAL" clId="{350F6923-3425-E74A-9082-1F6A58783646}" dt="2023-05-11T07:43:06.530" v="12" actId="2696"/>
        <pc:sldMkLst>
          <pc:docMk/>
          <pc:sldMk cId="1276492678" sldId="1583"/>
        </pc:sldMkLst>
      </pc:sldChg>
      <pc:sldChg chg="del">
        <pc:chgData name="Burch, Michael" userId="c61bac37-f303-4899-91e4-95e7d9e47247" providerId="ADAL" clId="{350F6923-3425-E74A-9082-1F6A58783646}" dt="2023-05-11T07:43:00.048" v="0" actId="2696"/>
        <pc:sldMkLst>
          <pc:docMk/>
          <pc:sldMk cId="1076907625" sldId="1588"/>
        </pc:sldMkLst>
      </pc:sldChg>
      <pc:sldChg chg="addSp delSp modSp add mod">
        <pc:chgData name="Burch, Michael" userId="c61bac37-f303-4899-91e4-95e7d9e47247" providerId="ADAL" clId="{350F6923-3425-E74A-9082-1F6A58783646}" dt="2023-05-11T08:15:06.346" v="218" actId="1076"/>
        <pc:sldMkLst>
          <pc:docMk/>
          <pc:sldMk cId="1200067128" sldId="1588"/>
        </pc:sldMkLst>
        <pc:spChg chg="del mod">
          <ac:chgData name="Burch, Michael" userId="c61bac37-f303-4899-91e4-95e7d9e47247" providerId="ADAL" clId="{350F6923-3425-E74A-9082-1F6A58783646}" dt="2023-05-11T08:12:09.265" v="187" actId="478"/>
          <ac:spMkLst>
            <pc:docMk/>
            <pc:sldMk cId="1200067128" sldId="1588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7:47:10.785" v="41" actId="1076"/>
          <ac:spMkLst>
            <pc:docMk/>
            <pc:sldMk cId="1200067128" sldId="1588"/>
            <ac:spMk id="3" creationId="{641BA0E1-8D6C-A9CA-73FE-3B2AE7D021E4}"/>
          </ac:spMkLst>
        </pc:spChg>
        <pc:spChg chg="mod">
          <ac:chgData name="Burch, Michael" userId="c61bac37-f303-4899-91e4-95e7d9e47247" providerId="ADAL" clId="{350F6923-3425-E74A-9082-1F6A58783646}" dt="2023-05-11T08:12:06.229" v="186" actId="20577"/>
          <ac:spMkLst>
            <pc:docMk/>
            <pc:sldMk cId="1200067128" sldId="1588"/>
            <ac:spMk id="7" creationId="{F666E8F7-8B25-B437-131E-F8882B62E16E}"/>
          </ac:spMkLst>
        </pc:spChg>
        <pc:spChg chg="add mod">
          <ac:chgData name="Burch, Michael" userId="c61bac37-f303-4899-91e4-95e7d9e47247" providerId="ADAL" clId="{350F6923-3425-E74A-9082-1F6A58783646}" dt="2023-05-11T08:15:06.346" v="218" actId="1076"/>
          <ac:spMkLst>
            <pc:docMk/>
            <pc:sldMk cId="1200067128" sldId="1588"/>
            <ac:spMk id="12" creationId="{F9279257-E993-29E7-84E2-189334FFB8D5}"/>
          </ac:spMkLst>
        </pc:spChg>
        <pc:picChg chg="add del mod">
          <ac:chgData name="Burch, Michael" userId="c61bac37-f303-4899-91e4-95e7d9e47247" providerId="ADAL" clId="{350F6923-3425-E74A-9082-1F6A58783646}" dt="2023-05-11T08:13:40.130" v="191" actId="478"/>
          <ac:picMkLst>
            <pc:docMk/>
            <pc:sldMk cId="1200067128" sldId="1588"/>
            <ac:picMk id="6" creationId="{565937C7-62BD-C7BC-25B9-D31FC491E4EA}"/>
          </ac:picMkLst>
        </pc:picChg>
        <pc:picChg chg="add mod modCrop">
          <ac:chgData name="Burch, Michael" userId="c61bac37-f303-4899-91e4-95e7d9e47247" providerId="ADAL" clId="{350F6923-3425-E74A-9082-1F6A58783646}" dt="2023-05-11T08:14:19.613" v="203" actId="1076"/>
          <ac:picMkLst>
            <pc:docMk/>
            <pc:sldMk cId="1200067128" sldId="1588"/>
            <ac:picMk id="9" creationId="{130DF4DB-0E7D-25A7-A8F7-7C2E53E4FFB6}"/>
          </ac:picMkLst>
        </pc:picChg>
        <pc:picChg chg="add mod">
          <ac:chgData name="Burch, Michael" userId="c61bac37-f303-4899-91e4-95e7d9e47247" providerId="ADAL" clId="{350F6923-3425-E74A-9082-1F6A58783646}" dt="2023-05-11T08:14:27.948" v="209" actId="1076"/>
          <ac:picMkLst>
            <pc:docMk/>
            <pc:sldMk cId="1200067128" sldId="1588"/>
            <ac:picMk id="11" creationId="{4CC1D0D8-5EB2-65B7-DBCC-EF489417A3A6}"/>
          </ac:picMkLst>
        </pc:picChg>
      </pc:sldChg>
      <pc:sldChg chg="modSp add mod">
        <pc:chgData name="Burch, Michael" userId="c61bac37-f303-4899-91e4-95e7d9e47247" providerId="ADAL" clId="{350F6923-3425-E74A-9082-1F6A58783646}" dt="2023-05-11T08:33:56.086" v="378" actId="20577"/>
        <pc:sldMkLst>
          <pc:docMk/>
          <pc:sldMk cId="3691471691" sldId="1589"/>
        </pc:sldMkLst>
        <pc:spChg chg="mod">
          <ac:chgData name="Burch, Michael" userId="c61bac37-f303-4899-91e4-95e7d9e47247" providerId="ADAL" clId="{350F6923-3425-E74A-9082-1F6A58783646}" dt="2023-05-11T08:32:59.774" v="365" actId="113"/>
          <ac:spMkLst>
            <pc:docMk/>
            <pc:sldMk cId="3691471691" sldId="1589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8:33:56.086" v="378" actId="20577"/>
          <ac:spMkLst>
            <pc:docMk/>
            <pc:sldMk cId="3691471691" sldId="1589"/>
            <ac:spMk id="7" creationId="{F666E8F7-8B25-B437-131E-F8882B62E16E}"/>
          </ac:spMkLst>
        </pc:spChg>
      </pc:sldChg>
      <pc:sldChg chg="addSp delSp modSp add mod ord">
        <pc:chgData name="Burch, Michael" userId="c61bac37-f303-4899-91e4-95e7d9e47247" providerId="ADAL" clId="{350F6923-3425-E74A-9082-1F6A58783646}" dt="2023-05-11T08:14:49.493" v="216" actId="1076"/>
        <pc:sldMkLst>
          <pc:docMk/>
          <pc:sldMk cId="4083298857" sldId="1590"/>
        </pc:sldMkLst>
        <pc:spChg chg="del mod">
          <ac:chgData name="Burch, Michael" userId="c61bac37-f303-4899-91e4-95e7d9e47247" providerId="ADAL" clId="{350F6923-3425-E74A-9082-1F6A58783646}" dt="2023-05-11T07:49:12.952" v="90" actId="478"/>
          <ac:spMkLst>
            <pc:docMk/>
            <pc:sldMk cId="4083298857" sldId="1590"/>
            <ac:spMk id="2" creationId="{DF770251-C66F-37B2-FA29-31FE5C038085}"/>
          </ac:spMkLst>
        </pc:spChg>
        <pc:spChg chg="add del mod">
          <ac:chgData name="Burch, Michael" userId="c61bac37-f303-4899-91e4-95e7d9e47247" providerId="ADAL" clId="{350F6923-3425-E74A-9082-1F6A58783646}" dt="2023-05-11T07:49:24.246" v="94" actId="478"/>
          <ac:spMkLst>
            <pc:docMk/>
            <pc:sldMk cId="4083298857" sldId="1590"/>
            <ac:spMk id="5" creationId="{FC9DD4CD-31A7-A2C5-01A0-388F124D7E14}"/>
          </ac:spMkLst>
        </pc:spChg>
        <pc:spChg chg="mod">
          <ac:chgData name="Burch, Michael" userId="c61bac37-f303-4899-91e4-95e7d9e47247" providerId="ADAL" clId="{350F6923-3425-E74A-9082-1F6A58783646}" dt="2023-05-11T08:06:41.078" v="117" actId="20577"/>
          <ac:spMkLst>
            <pc:docMk/>
            <pc:sldMk cId="4083298857" sldId="1590"/>
            <ac:spMk id="7" creationId="{F666E8F7-8B25-B437-131E-F8882B62E16E}"/>
          </ac:spMkLst>
        </pc:spChg>
        <pc:spChg chg="add mod">
          <ac:chgData name="Burch, Michael" userId="c61bac37-f303-4899-91e4-95e7d9e47247" providerId="ADAL" clId="{350F6923-3425-E74A-9082-1F6A58783646}" dt="2023-05-11T08:14:49.493" v="216" actId="1076"/>
          <ac:spMkLst>
            <pc:docMk/>
            <pc:sldMk cId="4083298857" sldId="1590"/>
            <ac:spMk id="13" creationId="{A4C52426-87A7-6733-3157-9F6D9520A5D6}"/>
          </ac:spMkLst>
        </pc:spChg>
        <pc:picChg chg="add mod modCrop">
          <ac:chgData name="Burch, Michael" userId="c61bac37-f303-4899-91e4-95e7d9e47247" providerId="ADAL" clId="{350F6923-3425-E74A-9082-1F6A58783646}" dt="2023-05-11T08:14:38.951" v="212" actId="1076"/>
          <ac:picMkLst>
            <pc:docMk/>
            <pc:sldMk cId="4083298857" sldId="1590"/>
            <ac:picMk id="8" creationId="{9892F158-A303-CA5C-D6E3-5359E4F21C3E}"/>
          </ac:picMkLst>
        </pc:picChg>
        <pc:picChg chg="add mod">
          <ac:chgData name="Burch, Michael" userId="c61bac37-f303-4899-91e4-95e7d9e47247" providerId="ADAL" clId="{350F6923-3425-E74A-9082-1F6A58783646}" dt="2023-05-11T08:14:46.589" v="215" actId="1076"/>
          <ac:picMkLst>
            <pc:docMk/>
            <pc:sldMk cId="4083298857" sldId="1590"/>
            <ac:picMk id="10" creationId="{96573FE4-0417-A597-4D0B-E162A509F9C2}"/>
          </ac:picMkLst>
        </pc:picChg>
        <pc:cxnChg chg="add del">
          <ac:chgData name="Burch, Michael" userId="c61bac37-f303-4899-91e4-95e7d9e47247" providerId="ADAL" clId="{350F6923-3425-E74A-9082-1F6A58783646}" dt="2023-05-11T08:07:12.654" v="129" actId="478"/>
          <ac:cxnSpMkLst>
            <pc:docMk/>
            <pc:sldMk cId="4083298857" sldId="1590"/>
            <ac:cxnSpMk id="12" creationId="{35C1032F-26BD-0151-7AD1-0304C64C3562}"/>
          </ac:cxnSpMkLst>
        </pc:cxnChg>
      </pc:sldChg>
      <pc:sldChg chg="modSp add mod">
        <pc:chgData name="Burch, Michael" userId="c61bac37-f303-4899-91e4-95e7d9e47247" providerId="ADAL" clId="{350F6923-3425-E74A-9082-1F6A58783646}" dt="2023-05-11T08:34:05.506" v="387" actId="20577"/>
        <pc:sldMkLst>
          <pc:docMk/>
          <pc:sldMk cId="654984513" sldId="1591"/>
        </pc:sldMkLst>
        <pc:spChg chg="mod">
          <ac:chgData name="Burch, Michael" userId="c61bac37-f303-4899-91e4-95e7d9e47247" providerId="ADAL" clId="{350F6923-3425-E74A-9082-1F6A58783646}" dt="2023-05-11T08:33:03.959" v="366" actId="113"/>
          <ac:spMkLst>
            <pc:docMk/>
            <pc:sldMk cId="654984513" sldId="1591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8:34:05.506" v="387" actId="20577"/>
          <ac:spMkLst>
            <pc:docMk/>
            <pc:sldMk cId="654984513" sldId="1591"/>
            <ac:spMk id="7" creationId="{F666E8F7-8B25-B437-131E-F8882B62E16E}"/>
          </ac:spMkLst>
        </pc:spChg>
      </pc:sldChg>
      <pc:sldMasterChg chg="delSldLayout">
        <pc:chgData name="Burch, Michael" userId="c61bac37-f303-4899-91e4-95e7d9e47247" providerId="ADAL" clId="{350F6923-3425-E74A-9082-1F6A58783646}" dt="2023-05-11T07:43:02.001" v="3" actId="2696"/>
        <pc:sldMasterMkLst>
          <pc:docMk/>
          <pc:sldMasterMk cId="4246037650" sldId="2147483660"/>
        </pc:sldMasterMkLst>
        <pc:sldLayoutChg chg="del">
          <pc:chgData name="Burch, Michael" userId="c61bac37-f303-4899-91e4-95e7d9e47247" providerId="ADAL" clId="{350F6923-3425-E74A-9082-1F6A58783646}" dt="2023-05-11T07:43:02.001" v="3" actId="2696"/>
          <pc:sldLayoutMkLst>
            <pc:docMk/>
            <pc:sldMasterMk cId="4246037650" sldId="2147483660"/>
            <pc:sldLayoutMk cId="841433079" sldId="2147483707"/>
          </pc:sldLayoutMkLst>
        </pc:sldLayoutChg>
      </pc:sldMasterChg>
    </pc:docChg>
  </pc:docChgLst>
  <pc:docChgLst>
    <pc:chgData name="Wu, Jing" userId="S::jing.wu@unisg.ch::185a692c-9f7b-4ee2-912c-20396d42d98e" providerId="AD" clId="Web-{1A00FD38-D445-403B-944B-4F3D0F251F26}"/>
    <pc:docChg chg="delSld">
      <pc:chgData name="Wu, Jing" userId="S::jing.wu@unisg.ch::185a692c-9f7b-4ee2-912c-20396d42d98e" providerId="AD" clId="Web-{1A00FD38-D445-403B-944B-4F3D0F251F26}" dt="2023-05-18T21:37:18.801" v="0"/>
      <pc:docMkLst>
        <pc:docMk/>
      </pc:docMkLst>
      <pc:sldChg chg="del">
        <pc:chgData name="Wu, Jing" userId="S::jing.wu@unisg.ch::185a692c-9f7b-4ee2-912c-20396d42d98e" providerId="AD" clId="Web-{1A00FD38-D445-403B-944B-4F3D0F251F26}" dt="2023-05-18T21:37:18.801" v="0"/>
        <pc:sldMkLst>
          <pc:docMk/>
          <pc:sldMk cId="2456456787" sldId="1598"/>
        </pc:sldMkLst>
      </pc:sldChg>
    </pc:docChg>
  </pc:docChgLst>
  <pc:docChgLst>
    <pc:chgData name="Bonilla, LeaMarta" userId="aa5362c7-0476-4c50-b52f-35c2791cd063" providerId="ADAL" clId="{59589261-44A9-774D-989B-D9F4E371B186}"/>
    <pc:docChg chg="modSld">
      <pc:chgData name="Bonilla, LeaMarta" userId="aa5362c7-0476-4c50-b52f-35c2791cd063" providerId="ADAL" clId="{59589261-44A9-774D-989B-D9F4E371B186}" dt="2023-05-18T17:50:32.317" v="1" actId="20577"/>
      <pc:docMkLst>
        <pc:docMk/>
      </pc:docMkLst>
      <pc:sldChg chg="modSp">
        <pc:chgData name="Bonilla, LeaMarta" userId="aa5362c7-0476-4c50-b52f-35c2791cd063" providerId="ADAL" clId="{59589261-44A9-774D-989B-D9F4E371B186}" dt="2023-05-18T17:50:32.317" v="1" actId="20577"/>
        <pc:sldMkLst>
          <pc:docMk/>
          <pc:sldMk cId="723318487" sldId="1582"/>
        </pc:sldMkLst>
        <pc:spChg chg="mod">
          <ac:chgData name="Bonilla, LeaMarta" userId="aa5362c7-0476-4c50-b52f-35c2791cd063" providerId="ADAL" clId="{59589261-44A9-774D-989B-D9F4E371B186}" dt="2023-05-18T17:50:32.317" v="1" actId="20577"/>
          <ac:spMkLst>
            <pc:docMk/>
            <pc:sldMk cId="723318487" sldId="1582"/>
            <ac:spMk id="6" creationId="{F5EEC294-B771-D940-6194-AB1896DE8EC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19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376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68764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6800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6.jpeg"/><Relationship Id="rId7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Mai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Mai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Mai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Mai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Mai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err="1">
                <a:solidFill>
                  <a:schemeClr val="tx1"/>
                </a:solidFill>
              </a:rPr>
              <a:t>Torstrasse</a:t>
            </a:r>
            <a:r>
              <a:rPr lang="en-GB" sz="100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(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r>
              <a:rPr lang="de-DE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3" imgH="330" progId="TCLayout.ActiveDocument.1">
                  <p:embed/>
                </p:oleObj>
              </mc:Choice>
              <mc:Fallback>
                <p:oleObj name="think-cell Slid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64307-A466-4844-A9B5-32AA551F4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E28BC1-2116-4C7D-AA43-497EBFCF72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40A3F3-140C-426C-B48D-EC12D416F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77020-D478-4200-B41F-16299167961D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A7101B-3C27-4AFB-8928-08D0E718E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9B3119-9DAE-4818-9DAA-C858634A7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60325-9559-4996-B9CF-BD0C996D2F0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9767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6190089" y="0"/>
            <a:ext cx="2953911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Mai 23</a:t>
            </a:fld>
            <a:endParaRPr lang="de-DE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Mai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Mai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  <a:p>
            <a:pPr lvl="4"/>
            <a:endParaRPr lang="en-US" noProof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Mai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  <p:sldLayoutId id="2147483707" r:id="rId3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lirst.last@%3Cstudent.%3Eunisg.ch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colab.research.google.com/drive/1UqrFnkJbqvZeJJXYe6uK_ZM-lZjqDUm_?usp=sharing" TargetMode="Externa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sz="4000"/>
              <a:t>Grundlagen und Methoden </a:t>
            </a:r>
            <a:br>
              <a:rPr lang="de-DE" sz="4000"/>
            </a:br>
            <a:r>
              <a:rPr lang="de-DE" sz="4000"/>
              <a:t>der Informatik</a:t>
            </a:r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b="1" err="1"/>
              <a:t>Exercise</a:t>
            </a:r>
            <a:r>
              <a:rPr lang="de-DE" b="1"/>
              <a:t> </a:t>
            </a:r>
            <a:r>
              <a:rPr lang="de-DE" b="1" err="1"/>
              <a:t>week</a:t>
            </a:r>
            <a:r>
              <a:rPr lang="de-DE" b="1"/>
              <a:t> 11</a:t>
            </a:r>
          </a:p>
          <a:p>
            <a:endParaRPr lang="de-DE"/>
          </a:p>
          <a:p>
            <a:r>
              <a:rPr lang="de-DE"/>
              <a:t>&lt; </a:t>
            </a:r>
            <a:r>
              <a:rPr lang="de-DE" err="1"/>
              <a:t>Fname</a:t>
            </a:r>
            <a:r>
              <a:rPr lang="de-DE"/>
              <a:t> </a:t>
            </a:r>
            <a:r>
              <a:rPr lang="de-DE" err="1"/>
              <a:t>Lname</a:t>
            </a:r>
            <a:r>
              <a:rPr lang="de-DE"/>
              <a:t> &gt;</a:t>
            </a:r>
          </a:p>
          <a:p>
            <a:r>
              <a:rPr lang="de-DE"/>
              <a:t>&lt; </a:t>
            </a:r>
            <a:r>
              <a:rPr lang="de-DE" err="1"/>
              <a:t>Exercise</a:t>
            </a:r>
            <a:r>
              <a:rPr lang="de-DE"/>
              <a:t> Group &gt;</a:t>
            </a:r>
          </a:p>
        </p:txBody>
      </p:sp>
    </p:spTree>
    <p:extLst>
      <p:ext uri="{BB962C8B-B14F-4D97-AF65-F5344CB8AC3E}">
        <p14:creationId xmlns:p14="http://schemas.microsoft.com/office/powerpoint/2010/main" val="3772496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Machine</a:t>
            </a:r>
            <a:r>
              <a:rPr lang="de-CH"/>
              <a:t> Learning with </a:t>
            </a:r>
            <a:r>
              <a:rPr lang="de-CH" err="1"/>
              <a:t>scikit-learn</a:t>
            </a:r>
            <a:r>
              <a:rPr lang="de-CH"/>
              <a:t> (</a:t>
            </a:r>
            <a:r>
              <a:rPr lang="de-CH" err="1"/>
              <a:t>kNN</a:t>
            </a:r>
            <a:r>
              <a:rPr lang="de-CH"/>
              <a:t> example)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2429783-15C9-9A75-A60B-85FC9A9AFB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/>
            <a:r>
              <a:rPr lang="en-GB" sz="1400" b="1">
                <a:latin typeface="+mj-lt"/>
                <a:ea typeface="Cambria Math" panose="02040503050406030204" pitchFamily="18" charset="0"/>
              </a:rPr>
              <a:t># To do before you can train your model</a:t>
            </a:r>
          </a:p>
          <a:p>
            <a:pPr marL="0" indent="0"/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“</a:t>
            </a:r>
            <a:r>
              <a:rPr lang="en-GB" sz="1400" err="1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preprocess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 (clean your data, remove </a:t>
            </a:r>
            <a:r>
              <a:rPr lang="en-GB" sz="1400" err="1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NaN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, normalize, …)”</a:t>
            </a:r>
          </a:p>
          <a:p>
            <a:pPr marL="0" indent="0"/>
            <a:r>
              <a:rPr lang="en-GB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“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define X &amp; y (usually lists, series or </a:t>
            </a:r>
            <a:r>
              <a:rPr lang="en-GB" sz="1400" err="1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dataframes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 containing the values for attributes [X] &amp; labels [y])”</a:t>
            </a:r>
          </a:p>
          <a:p>
            <a:pPr marL="0" indent="0"/>
            <a:endParaRPr lang="en-GB" sz="1400"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 sz="1400" b="1">
                <a:latin typeface="+mj-lt"/>
                <a:ea typeface="Cambria Math" panose="02040503050406030204" pitchFamily="18" charset="0"/>
              </a:rPr>
              <a:t># To split the data in a training and a testing set</a:t>
            </a:r>
          </a:p>
          <a:p>
            <a:pPr marL="0" indent="0"/>
            <a:r>
              <a:rPr lang="en-GB" sz="1400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from </a:t>
            </a:r>
            <a:r>
              <a:rPr lang="en-GB" sz="1400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sklearn.model_selection</a:t>
            </a:r>
            <a:r>
              <a:rPr lang="en-GB" sz="1400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 import </a:t>
            </a:r>
            <a:r>
              <a:rPr lang="en-GB" sz="1400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train_test_split</a:t>
            </a:r>
            <a:endParaRPr lang="en-GB" sz="1400" b="1">
              <a:solidFill>
                <a:srgbClr val="00802F"/>
              </a:solidFill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>
                <a:latin typeface="+mj-lt"/>
                <a:ea typeface="Cambria Math" panose="02040503050406030204" pitchFamily="18" charset="0"/>
              </a:rPr>
              <a:t># Shuffle and split data. Optional params: </a:t>
            </a:r>
            <a:r>
              <a:rPr lang="en-GB" err="1">
                <a:latin typeface="+mj-lt"/>
                <a:ea typeface="Cambria Math" panose="02040503050406030204" pitchFamily="18" charset="0"/>
              </a:rPr>
              <a:t>train_size</a:t>
            </a:r>
            <a:r>
              <a:rPr lang="en-GB">
                <a:latin typeface="+mj-lt"/>
                <a:ea typeface="Cambria Math" panose="02040503050406030204" pitchFamily="18" charset="0"/>
              </a:rPr>
              <a:t> or </a:t>
            </a:r>
            <a:r>
              <a:rPr lang="en-GB" err="1">
                <a:latin typeface="+mj-lt"/>
                <a:ea typeface="Cambria Math" panose="02040503050406030204" pitchFamily="18" charset="0"/>
              </a:rPr>
              <a:t>test_size</a:t>
            </a:r>
            <a:r>
              <a:rPr lang="en-GB">
                <a:latin typeface="+mj-lt"/>
                <a:ea typeface="Cambria Math" panose="02040503050406030204" pitchFamily="18" charset="0"/>
              </a:rPr>
              <a:t> (default 75%-25%); </a:t>
            </a:r>
            <a:r>
              <a:rPr lang="en-GB" err="1">
                <a:latin typeface="+mj-lt"/>
                <a:ea typeface="Cambria Math" panose="02040503050406030204" pitchFamily="18" charset="0"/>
              </a:rPr>
              <a:t>random_state</a:t>
            </a:r>
            <a:r>
              <a:rPr lang="en-GB">
                <a:latin typeface="+mj-lt"/>
                <a:ea typeface="Cambria Math" panose="02040503050406030204" pitchFamily="18" charset="0"/>
              </a:rPr>
              <a:t> (reproducibility)</a:t>
            </a:r>
            <a:endParaRPr lang="en-GB" sz="1400"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X_train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,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X_test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,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y_train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,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y_test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 =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train_test_split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(X, y)</a:t>
            </a:r>
          </a:p>
          <a:p>
            <a:pPr marL="0" indent="0"/>
            <a:endParaRPr lang="en-GB" b="1">
              <a:solidFill>
                <a:srgbClr val="00B050"/>
              </a:solidFill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 sz="1400" b="1">
                <a:latin typeface="+mj-lt"/>
                <a:ea typeface="Cambria Math" panose="02040503050406030204" pitchFamily="18" charset="0"/>
              </a:rPr>
              <a:t># Select and fit (train) the model to use if for predictions</a:t>
            </a:r>
          </a:p>
          <a:p>
            <a:pPr marL="0" indent="0"/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from 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klearn.neighbors</a:t>
            </a:r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import 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NeighborsClassifier</a:t>
            </a:r>
            <a:endParaRPr lang="en-GB" sz="1400">
              <a:solidFill>
                <a:srgbClr val="E3981D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/>
            <a:r>
              <a:rPr lang="en-GB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lf</a:t>
            </a:r>
            <a:r>
              <a:rPr lang="en-GB" sz="1400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= 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NeighborsClassifier</a:t>
            </a:r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n_neighbors</a:t>
            </a:r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= 5)</a:t>
            </a:r>
          </a:p>
          <a:p>
            <a:pPr marL="0" indent="0"/>
            <a:r>
              <a:rPr lang="fr-FR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lf</a:t>
            </a:r>
            <a:r>
              <a:rPr lang="fr-FR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fit(X_train, y_train)</a:t>
            </a:r>
          </a:p>
          <a:p>
            <a:pPr marL="0" indent="0"/>
            <a:r>
              <a:rPr lang="en-GB" sz="1400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y_pred</a:t>
            </a:r>
            <a:r>
              <a:rPr lang="en-GB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= </a:t>
            </a:r>
            <a:r>
              <a:rPr lang="en-GB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lf</a:t>
            </a:r>
            <a:r>
              <a:rPr lang="en-GB" sz="1400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predict</a:t>
            </a:r>
            <a:r>
              <a:rPr lang="en-GB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</a:t>
            </a:r>
            <a:r>
              <a:rPr lang="en-GB" sz="1400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X_test</a:t>
            </a:r>
            <a:r>
              <a:rPr lang="en-GB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)</a:t>
            </a:r>
          </a:p>
          <a:p>
            <a:pPr marL="0" indent="0"/>
            <a:endParaRPr lang="en-GB" sz="140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 in Practic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2E84269-6B6E-BBF8-FA53-C4A903406C58}"/>
              </a:ext>
            </a:extLst>
          </p:cNvPr>
          <p:cNvSpPr/>
          <p:nvPr/>
        </p:nvSpPr>
        <p:spPr>
          <a:xfrm>
            <a:off x="6513411" y="279796"/>
            <a:ext cx="2540500" cy="567558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>
                <a:solidFill>
                  <a:schemeClr val="bg1"/>
                </a:solidFill>
              </a:rPr>
              <a:t>See </a:t>
            </a:r>
            <a:r>
              <a:rPr lang="de-CH" sz="1200" b="1" err="1">
                <a:solidFill>
                  <a:schemeClr val="bg1"/>
                </a:solidFill>
              </a:rPr>
              <a:t>Machine</a:t>
            </a:r>
            <a:r>
              <a:rPr lang="de-CH" sz="1200" b="1">
                <a:solidFill>
                  <a:schemeClr val="bg1"/>
                </a:solidFill>
              </a:rPr>
              <a:t> Learning Notebook</a:t>
            </a:r>
          </a:p>
          <a:p>
            <a:pPr algn="ctr"/>
            <a:r>
              <a:rPr lang="de-CH" sz="1200" b="1">
                <a:solidFill>
                  <a:schemeClr val="bg1"/>
                </a:solidFill>
              </a:rPr>
              <a:t>in </a:t>
            </a:r>
            <a:r>
              <a:rPr lang="de-CH" sz="1200" b="1" err="1">
                <a:solidFill>
                  <a:schemeClr val="bg1"/>
                </a:solidFill>
              </a:rPr>
              <a:t>the</a:t>
            </a:r>
            <a:r>
              <a:rPr lang="de-CH" sz="1200" b="1">
                <a:solidFill>
                  <a:schemeClr val="bg1"/>
                </a:solidFill>
              </a:rPr>
              <a:t> </a:t>
            </a:r>
            <a:r>
              <a:rPr lang="de-CH" sz="1200" b="1" err="1">
                <a:solidFill>
                  <a:schemeClr val="bg1"/>
                </a:solidFill>
              </a:rPr>
              <a:t>main</a:t>
            </a:r>
            <a:r>
              <a:rPr lang="de-CH" sz="1200" b="1">
                <a:solidFill>
                  <a:schemeClr val="bg1"/>
                </a:solidFill>
              </a:rPr>
              <a:t> </a:t>
            </a:r>
            <a:r>
              <a:rPr lang="de-CH" sz="1200" b="1" err="1">
                <a:solidFill>
                  <a:schemeClr val="bg1"/>
                </a:solidFill>
              </a:rPr>
              <a:t>course</a:t>
            </a:r>
            <a:r>
              <a:rPr lang="de-CH" sz="1200" b="1">
                <a:solidFill>
                  <a:schemeClr val="bg1"/>
                </a:solidFill>
              </a:rPr>
              <a:t> </a:t>
            </a:r>
            <a:r>
              <a:rPr lang="de-CH" sz="1200" b="1" err="1">
                <a:solidFill>
                  <a:schemeClr val="bg1"/>
                </a:solidFill>
              </a:rPr>
              <a:t>room</a:t>
            </a:r>
            <a:endParaRPr lang="en-GB" sz="1200" b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720340-B670-4D31-2029-F681F8FCBAEE}"/>
              </a:ext>
            </a:extLst>
          </p:cNvPr>
          <p:cNvSpPr txBox="1"/>
          <p:nvPr/>
        </p:nvSpPr>
        <p:spPr>
          <a:xfrm>
            <a:off x="5130548" y="3391839"/>
            <a:ext cx="348496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i="1"/>
              <a:t>Note, that </a:t>
            </a:r>
            <a:r>
              <a:rPr lang="de-CH" i="1" err="1"/>
              <a:t>only</a:t>
            </a:r>
            <a:r>
              <a:rPr lang="de-CH" i="1"/>
              <a:t> </a:t>
            </a:r>
            <a:r>
              <a:rPr lang="de-CH" b="1" i="1" err="1">
                <a:solidFill>
                  <a:srgbClr val="E3981D"/>
                </a:solidFill>
              </a:rPr>
              <a:t>these</a:t>
            </a:r>
            <a:r>
              <a:rPr lang="de-CH" i="1"/>
              <a:t> </a:t>
            </a:r>
            <a:r>
              <a:rPr lang="de-CH" i="1" err="1"/>
              <a:t>things</a:t>
            </a:r>
            <a:r>
              <a:rPr lang="de-CH" i="1"/>
              <a:t> </a:t>
            </a:r>
            <a:r>
              <a:rPr lang="de-CH" i="1" err="1"/>
              <a:t>change</a:t>
            </a:r>
            <a:r>
              <a:rPr lang="de-CH" i="1"/>
              <a:t>, </a:t>
            </a:r>
            <a:r>
              <a:rPr lang="de-CH" i="1" err="1"/>
              <a:t>everything</a:t>
            </a:r>
            <a:r>
              <a:rPr lang="de-CH" i="1"/>
              <a:t> </a:t>
            </a:r>
            <a:r>
              <a:rPr lang="de-CH" i="1" err="1"/>
              <a:t>else</a:t>
            </a:r>
            <a:r>
              <a:rPr lang="de-CH" i="1"/>
              <a:t> </a:t>
            </a:r>
            <a:r>
              <a:rPr lang="de-CH" i="1" err="1"/>
              <a:t>stays</a:t>
            </a:r>
            <a:r>
              <a:rPr lang="de-CH" i="1"/>
              <a:t> </a:t>
            </a:r>
            <a:r>
              <a:rPr lang="de-CH" i="1" err="1"/>
              <a:t>the</a:t>
            </a:r>
            <a:r>
              <a:rPr lang="de-CH" i="1"/>
              <a:t> same for all </a:t>
            </a:r>
            <a:r>
              <a:rPr lang="de-CH" i="1" err="1"/>
              <a:t>sklearn</a:t>
            </a:r>
            <a:r>
              <a:rPr lang="de-CH" i="1"/>
              <a:t> </a:t>
            </a:r>
            <a:r>
              <a:rPr lang="de-CH" i="1" err="1"/>
              <a:t>algorithms</a:t>
            </a:r>
            <a:r>
              <a:rPr lang="de-CH" i="1"/>
              <a:t>! </a:t>
            </a:r>
            <a:endParaRPr lang="en-GB" i="1"/>
          </a:p>
        </p:txBody>
      </p:sp>
    </p:spTree>
    <p:extLst>
      <p:ext uri="{BB962C8B-B14F-4D97-AF65-F5344CB8AC3E}">
        <p14:creationId xmlns:p14="http://schemas.microsoft.com/office/powerpoint/2010/main" val="28960780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4CC23-93C2-969D-52AE-42A92D4BC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Evaluate</a:t>
            </a:r>
            <a:r>
              <a:rPr lang="de-CH"/>
              <a:t> </a:t>
            </a:r>
            <a:r>
              <a:rPr lang="de-CH" err="1"/>
              <a:t>results</a:t>
            </a:r>
            <a:r>
              <a:rPr lang="de-CH"/>
              <a:t>: </a:t>
            </a:r>
            <a:r>
              <a:rPr lang="de-CH" err="1"/>
              <a:t>Confusion</a:t>
            </a:r>
            <a:r>
              <a:rPr lang="de-CH"/>
              <a:t> Matrix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1032F9-BBBF-F2A3-17B1-8F5DF72A52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F3623346-F20A-1C6B-8B23-84C474161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GB" smtClean="0"/>
              <a:pPr/>
              <a:t>11</a:t>
            </a:fld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00056B4-67BA-4BD3-CD00-BA6F9F80EA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630" r="9884" b="11073"/>
          <a:stretch/>
        </p:blipFill>
        <p:spPr>
          <a:xfrm>
            <a:off x="1162145" y="767337"/>
            <a:ext cx="5720630" cy="380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786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4CC23-93C2-969D-52AE-42A92D4BC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Evaluate</a:t>
            </a:r>
            <a:r>
              <a:rPr lang="de-CH"/>
              <a:t> </a:t>
            </a:r>
            <a:r>
              <a:rPr lang="de-CH" err="1"/>
              <a:t>results</a:t>
            </a:r>
            <a:r>
              <a:rPr lang="de-CH"/>
              <a:t>: Performance </a:t>
            </a:r>
            <a:r>
              <a:rPr lang="de-CH" err="1"/>
              <a:t>Metrics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1032F9-BBBF-F2A3-17B1-8F5DF72A52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7A55A6A-2ECC-C9E4-754E-47BA8B6D0A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141" y="1093545"/>
            <a:ext cx="8392412" cy="34899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1E0FFC7-F140-1076-9259-82414B8BD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5919" y="61230"/>
            <a:ext cx="3190931" cy="120678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19B1494-4942-B992-03C3-9068C885E925}"/>
              </a:ext>
            </a:extLst>
          </p:cNvPr>
          <p:cNvSpPr txBox="1"/>
          <p:nvPr/>
        </p:nvSpPr>
        <p:spPr>
          <a:xfrm>
            <a:off x="801113" y="2010000"/>
            <a:ext cx="249013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>
                <a:latin typeface="Arial" panose="020B0604020202020204" pitchFamily="34" charset="0"/>
              </a:rPr>
              <a:t>Ratio: How many data points were correctly classified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545D68-3236-0258-39E0-F2E59F8027C1}"/>
              </a:ext>
            </a:extLst>
          </p:cNvPr>
          <p:cNvSpPr txBox="1"/>
          <p:nvPr/>
        </p:nvSpPr>
        <p:spPr>
          <a:xfrm>
            <a:off x="2394870" y="3083484"/>
            <a:ext cx="305851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>
                <a:latin typeface="Arial" panose="020B0604020202020204" pitchFamily="34" charset="0"/>
              </a:rPr>
              <a:t>Ratio: How many of the data points assigned to a class actually belong to the class?</a:t>
            </a:r>
            <a:endParaRPr lang="en-GB" sz="11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72CCA4-B13B-9C70-1448-5D41E53A27B7}"/>
              </a:ext>
            </a:extLst>
          </p:cNvPr>
          <p:cNvSpPr txBox="1"/>
          <p:nvPr/>
        </p:nvSpPr>
        <p:spPr>
          <a:xfrm>
            <a:off x="2394870" y="3637872"/>
            <a:ext cx="313283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>
                <a:latin typeface="Arial" panose="020B0604020202020204" pitchFamily="34" charset="0"/>
              </a:rPr>
              <a:t>Ratio: How many of the data points belonging to a class were assigned that class.</a:t>
            </a:r>
            <a:endParaRPr lang="en-GB" sz="1100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F3623346-F20A-1C6B-8B23-84C474161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87747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4CC23-93C2-969D-52AE-42A92D4BC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Performance </a:t>
            </a:r>
            <a:r>
              <a:rPr lang="de-CH" err="1"/>
              <a:t>Metrics</a:t>
            </a:r>
            <a:r>
              <a:rPr lang="de-CH"/>
              <a:t> in Python: Classification Report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A2F830B-F82B-3F3F-08EB-36F003542F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73CA3D6-9358-ADC0-6AAF-0D3EAE11E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GB" smtClean="0"/>
              <a:pPr/>
              <a:t>13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7177DD-8288-7529-1654-318ED9A8DF2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212"/>
          <a:stretch/>
        </p:blipFill>
        <p:spPr>
          <a:xfrm>
            <a:off x="669520" y="1040524"/>
            <a:ext cx="7659761" cy="337634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8A4E5E-0DC3-B2B2-ED95-221F673D0205}"/>
              </a:ext>
            </a:extLst>
          </p:cNvPr>
          <p:cNvSpPr txBox="1"/>
          <p:nvPr/>
        </p:nvSpPr>
        <p:spPr>
          <a:xfrm>
            <a:off x="6566763" y="1855913"/>
            <a:ext cx="1630956" cy="7158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 b="1">
                <a:latin typeface="Arial" panose="020B0604020202020204" pitchFamily="34" charset="0"/>
              </a:rPr>
              <a:t>The column support tells you how many data points are relevant for this line</a:t>
            </a:r>
            <a:endParaRPr lang="en-GB" sz="1013" b="1"/>
          </a:p>
        </p:txBody>
      </p:sp>
    </p:spTree>
    <p:extLst>
      <p:ext uri="{BB962C8B-B14F-4D97-AF65-F5344CB8AC3E}">
        <p14:creationId xmlns:p14="http://schemas.microsoft.com/office/powerpoint/2010/main" val="28016883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/>
            <a:r>
              <a:rPr lang="de-DE"/>
              <a:t>&lt;</a:t>
            </a:r>
            <a:r>
              <a:rPr lang="de-DE" err="1"/>
              <a:t>Your</a:t>
            </a:r>
            <a:r>
              <a:rPr lang="de-DE"/>
              <a:t> Name&gt;</a:t>
            </a:r>
          </a:p>
          <a:p>
            <a:pPr marL="0" lvl="1" indent="0" defTabSz="914400">
              <a:spcAft>
                <a:spcPts val="450"/>
              </a:spcAft>
              <a:buClr>
                <a:srgbClr val="00802F"/>
              </a:buClr>
              <a:buNone/>
            </a:pPr>
            <a:r>
              <a:rPr lang="de-DE">
                <a:cs typeface="Arial" pitchFamily="34" charset="0"/>
              </a:rPr>
              <a:t>&lt;</a:t>
            </a:r>
            <a:r>
              <a:rPr lang="de-DE" err="1">
                <a:cs typeface="Arial" pitchFamily="34" charset="0"/>
              </a:rPr>
              <a:t>Function</a:t>
            </a:r>
            <a:r>
              <a:rPr lang="de-DE">
                <a:cs typeface="Arial" pitchFamily="34" charset="0"/>
              </a:rPr>
              <a:t>&gt;</a:t>
            </a:r>
          </a:p>
          <a:p>
            <a:pPr marL="0" indent="0"/>
            <a:r>
              <a:rPr lang="de-DE" b="0" err="1">
                <a:hlinkClick r:id="rId3"/>
              </a:rPr>
              <a:t>lirst.last</a:t>
            </a:r>
            <a:r>
              <a:rPr lang="de-DE" b="0">
                <a:hlinkClick r:id="rId3"/>
              </a:rPr>
              <a:t>@&lt;student.&gt;unisg.ch</a:t>
            </a:r>
            <a:r>
              <a:rPr lang="de-DE" b="0"/>
              <a:t>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862619"/>
            <a:ext cx="5933919" cy="3860455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</a:pPr>
            <a:r>
              <a:rPr lang="en-US"/>
              <a:t>Discussion of the solutions of Assignment 10</a:t>
            </a:r>
          </a:p>
          <a:p>
            <a:pPr>
              <a:spcAft>
                <a:spcPts val="800"/>
              </a:spcAft>
            </a:pPr>
            <a:r>
              <a:rPr lang="en-US"/>
              <a:t>Discussion of Quiz 10</a:t>
            </a:r>
          </a:p>
          <a:p>
            <a:pPr>
              <a:spcAft>
                <a:spcPts val="800"/>
              </a:spcAft>
            </a:pPr>
            <a:r>
              <a:rPr lang="en-US"/>
              <a:t>Hints and relevant concepts for the tasks of Assignment 11</a:t>
            </a:r>
          </a:p>
          <a:p>
            <a:pPr marL="0" indent="0">
              <a:buNone/>
            </a:pP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946332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5F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989" y="578691"/>
            <a:ext cx="7694791" cy="2496171"/>
          </a:xfrm>
        </p:spPr>
        <p:txBody>
          <a:bodyPr/>
          <a:lstStyle/>
          <a:p>
            <a:r>
              <a:rPr lang="en-GB"/>
              <a:t>1. Discussion of the </a:t>
            </a:r>
            <a:br>
              <a:rPr lang="en-GB"/>
            </a:br>
            <a:r>
              <a:rPr lang="en-GB"/>
              <a:t>solutions of Assignment 10</a:t>
            </a:r>
          </a:p>
        </p:txBody>
      </p:sp>
    </p:spTree>
    <p:extLst>
      <p:ext uri="{BB962C8B-B14F-4D97-AF65-F5344CB8AC3E}">
        <p14:creationId xmlns:p14="http://schemas.microsoft.com/office/powerpoint/2010/main" val="8609055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. Discussion of Quiz 10</a:t>
            </a:r>
          </a:p>
        </p:txBody>
      </p:sp>
    </p:spTree>
    <p:extLst>
      <p:ext uri="{BB962C8B-B14F-4D97-AF65-F5344CB8AC3E}">
        <p14:creationId xmlns:p14="http://schemas.microsoft.com/office/powerpoint/2010/main" val="4557839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711226"/>
            <a:ext cx="8426450" cy="609662"/>
          </a:xfrm>
        </p:spPr>
        <p:txBody>
          <a:bodyPr/>
          <a:lstStyle/>
          <a:p>
            <a:r>
              <a:rPr lang="en-GB"/>
              <a:t>Full explanations on Google </a:t>
            </a:r>
            <a:r>
              <a:rPr lang="en-GB" err="1"/>
              <a:t>Colab</a:t>
            </a:r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2. </a:t>
            </a:r>
            <a:r>
              <a:rPr lang="de-DE" err="1"/>
              <a:t>Discussion</a:t>
            </a:r>
            <a:r>
              <a:rPr lang="de-DE"/>
              <a:t> of Quiz 10</a:t>
            </a:r>
            <a:endParaRPr lang="en-GB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5EEC294-B771-D940-6194-AB1896DE8E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734" y="1162365"/>
            <a:ext cx="7864503" cy="888858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ee the </a:t>
            </a:r>
            <a:r>
              <a:rPr lang="en-US" dirty="0">
                <a:hlinkClick r:id="rId2"/>
              </a:rPr>
              <a:t>linked Google </a:t>
            </a:r>
            <a:r>
              <a:rPr lang="en-US" dirty="0" err="1">
                <a:hlinkClick r:id="rId2"/>
              </a:rPr>
              <a:t>Colab</a:t>
            </a:r>
            <a:r>
              <a:rPr lang="en-US" dirty="0">
                <a:hlinkClick r:id="rId2"/>
              </a:rPr>
              <a:t> </a:t>
            </a:r>
            <a:r>
              <a:rPr lang="en-US" dirty="0"/>
              <a:t>for the full explanations for each question in Quiz 10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3184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E3E48-FF8A-5E4C-67CC-8B0608A0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84" y="615461"/>
            <a:ext cx="7789431" cy="3660617"/>
          </a:xfrm>
        </p:spPr>
        <p:txBody>
          <a:bodyPr>
            <a:normAutofit fontScale="90000"/>
          </a:bodyPr>
          <a:lstStyle/>
          <a:p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3. Introduction to Assignment 11</a:t>
            </a:r>
            <a:br>
              <a:rPr lang="en-GB"/>
            </a:b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358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is Machine Learning?</a:t>
            </a:r>
            <a:br>
              <a:rPr lang="en-GB"/>
            </a:b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8BCD98-03F0-7525-A7F0-853A15731A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/>
            <a:r>
              <a:rPr lang="en-GB" sz="1600">
                <a:latin typeface="+mj-lt"/>
              </a:rPr>
              <a:t>Computer </a:t>
            </a:r>
            <a:r>
              <a:rPr lang="en-GB" sz="1600">
                <a:effectLst/>
                <a:latin typeface="+mj-lt"/>
              </a:rPr>
              <a:t>programs (algorithms) that learn from (many) examples and can generalise from existing examples of a task.</a:t>
            </a:r>
          </a:p>
          <a:p>
            <a:pPr marL="0" indent="0"/>
            <a:endParaRPr lang="en-GB" sz="1600">
              <a:latin typeface="+mj-lt"/>
            </a:endParaRPr>
          </a:p>
          <a:p>
            <a:pPr marL="0" indent="0"/>
            <a:r>
              <a:rPr lang="en-GB" sz="1600" b="1" u="sng">
                <a:effectLst/>
                <a:latin typeface="+mj-lt"/>
              </a:rPr>
              <a:t>High-level steps:</a:t>
            </a:r>
          </a:p>
          <a:p>
            <a:pPr marL="0" indent="0"/>
            <a:endParaRPr lang="en-GB" sz="1600">
              <a:effectLst/>
              <a:latin typeface="+mj-lt"/>
            </a:endParaRPr>
          </a:p>
          <a:p>
            <a:pPr marL="385763" indent="-385763">
              <a:buFont typeface="+mj-lt"/>
              <a:buAutoNum type="arabicPeriod"/>
            </a:pPr>
            <a:r>
              <a:rPr lang="en-GB" sz="1600">
                <a:latin typeface="+mj-lt"/>
              </a:rPr>
              <a:t>Program learns rules by understanding the training data.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00">
                <a:effectLst/>
                <a:latin typeface="+mj-lt"/>
              </a:rPr>
              <a:t>Program applies </a:t>
            </a:r>
            <a:r>
              <a:rPr lang="en-GB" sz="1600">
                <a:latin typeface="+mj-lt"/>
              </a:rPr>
              <a:t>rules to new, unseen data. This is called “</a:t>
            </a:r>
            <a:r>
              <a:rPr lang="en-GB" sz="1600" b="1">
                <a:latin typeface="+mj-lt"/>
              </a:rPr>
              <a:t>generalise</a:t>
            </a:r>
            <a:r>
              <a:rPr lang="en-GB" sz="1600">
                <a:latin typeface="+mj-lt"/>
              </a:rPr>
              <a:t>” and is what makes ML so powerful.</a:t>
            </a:r>
          </a:p>
          <a:p>
            <a:pPr marL="0" indent="0"/>
            <a:endParaRPr lang="en-GB" sz="1600">
              <a:effectLst/>
              <a:latin typeface="+mj-lt"/>
            </a:endParaRPr>
          </a:p>
          <a:p>
            <a:pPr marL="0" indent="0"/>
            <a:r>
              <a:rPr lang="en-GB" sz="1600">
                <a:latin typeface="+mj-lt"/>
              </a:rPr>
              <a:t>Many different steps like gathering and </a:t>
            </a:r>
            <a:r>
              <a:rPr lang="en-GB" sz="1600" err="1">
                <a:latin typeface="+mj-lt"/>
              </a:rPr>
              <a:t>preprocessing</a:t>
            </a:r>
            <a:r>
              <a:rPr lang="en-GB" sz="1600">
                <a:latin typeface="+mj-lt"/>
              </a:rPr>
              <a:t> data go into this – but in essence it is simply about “learning from data”.</a:t>
            </a:r>
            <a:endParaRPr lang="en-GB" sz="1600">
              <a:effectLst/>
              <a:latin typeface="+mj-lt"/>
            </a:endParaRPr>
          </a:p>
          <a:p>
            <a:endParaRPr lang="en-GB" sz="1600"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</a:t>
            </a:r>
          </a:p>
        </p:txBody>
      </p:sp>
    </p:spTree>
    <p:extLst>
      <p:ext uri="{BB962C8B-B14F-4D97-AF65-F5344CB8AC3E}">
        <p14:creationId xmlns:p14="http://schemas.microsoft.com/office/powerpoint/2010/main" val="27000268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Machine</a:t>
            </a:r>
            <a:r>
              <a:rPr lang="de-CH"/>
              <a:t> Learning </a:t>
            </a:r>
            <a:r>
              <a:rPr lang="de-CH" err="1"/>
              <a:t>Types</a:t>
            </a: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8BCD98-03F0-7525-A7F0-853A15731A3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CH" dirty="0" err="1">
                <a:latin typeface="+mj-lt"/>
              </a:rPr>
              <a:t>Supervised</a:t>
            </a:r>
            <a:r>
              <a:rPr lang="de-CH" dirty="0">
                <a:latin typeface="+mj-lt"/>
              </a:rPr>
              <a:t> Learning – </a:t>
            </a:r>
            <a:r>
              <a:rPr lang="de-CH" dirty="0" err="1">
                <a:latin typeface="+mj-lt"/>
              </a:rPr>
              <a:t>Predictions</a:t>
            </a:r>
            <a:r>
              <a:rPr lang="de-CH" dirty="0">
                <a:latin typeface="+mj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>
                <a:latin typeface="+mj-lt"/>
              </a:rPr>
              <a:t>classification</a:t>
            </a:r>
            <a:r>
              <a:rPr lang="de-CH" dirty="0">
                <a:latin typeface="+mj-lt"/>
              </a:rPr>
              <a:t> for </a:t>
            </a:r>
            <a:r>
              <a:rPr lang="de-CH" dirty="0" err="1">
                <a:latin typeface="+mj-lt"/>
              </a:rPr>
              <a:t>categorical</a:t>
            </a:r>
            <a:r>
              <a:rPr lang="de-CH" dirty="0">
                <a:latin typeface="+mj-lt"/>
              </a:rPr>
              <a:t> </a:t>
            </a:r>
            <a:r>
              <a:rPr lang="de-CH" dirty="0" err="1">
                <a:latin typeface="+mj-lt"/>
              </a:rPr>
              <a:t>values</a:t>
            </a:r>
            <a:r>
              <a:rPr lang="de-CH" dirty="0">
                <a:latin typeface="+mj-lt"/>
              </a:rPr>
              <a:t> (</a:t>
            </a:r>
            <a:r>
              <a:rPr lang="de-CH" dirty="0" err="1">
                <a:latin typeface="+mj-lt"/>
              </a:rPr>
              <a:t>discrete</a:t>
            </a:r>
            <a:r>
              <a:rPr lang="de-CH" dirty="0">
                <a:latin typeface="+mj-lt"/>
              </a:rPr>
              <a:t> </a:t>
            </a:r>
            <a:r>
              <a:rPr lang="de-CH" dirty="0" err="1">
                <a:latin typeface="+mj-lt"/>
              </a:rPr>
              <a:t>classes</a:t>
            </a:r>
            <a:r>
              <a:rPr lang="de-CH" dirty="0">
                <a:latin typeface="+mj-lt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>
                <a:latin typeface="+mj-lt"/>
              </a:rPr>
              <a:t>regression</a:t>
            </a:r>
            <a:r>
              <a:rPr lang="de-CH" dirty="0">
                <a:latin typeface="+mj-lt"/>
              </a:rPr>
              <a:t> for </a:t>
            </a:r>
            <a:r>
              <a:rPr lang="de-CH" dirty="0" err="1">
                <a:latin typeface="+mj-lt"/>
              </a:rPr>
              <a:t>continuous</a:t>
            </a:r>
            <a:r>
              <a:rPr lang="de-CH" dirty="0">
                <a:latin typeface="+mj-lt"/>
              </a:rPr>
              <a:t> </a:t>
            </a:r>
            <a:r>
              <a:rPr lang="de-CH" dirty="0" err="1">
                <a:latin typeface="+mj-lt"/>
              </a:rPr>
              <a:t>values</a:t>
            </a:r>
            <a:endParaRPr lang="de-CH" dirty="0">
              <a:effectLst/>
              <a:latin typeface="+mj-lt"/>
            </a:endParaRPr>
          </a:p>
          <a:p>
            <a:endParaRPr lang="de-CH" dirty="0">
              <a:latin typeface="+mj-lt"/>
            </a:endParaRPr>
          </a:p>
          <a:p>
            <a:r>
              <a:rPr lang="de-CH" b="1" dirty="0">
                <a:latin typeface="+mj-lt"/>
              </a:rPr>
              <a:t>Self-</a:t>
            </a:r>
            <a:r>
              <a:rPr lang="de-CH" b="1" dirty="0" err="1">
                <a:latin typeface="+mj-lt"/>
              </a:rPr>
              <a:t>Supervised</a:t>
            </a:r>
            <a:r>
              <a:rPr lang="de-CH" b="1">
                <a:latin typeface="+mj-lt"/>
              </a:rPr>
              <a:t> Learning – GPT</a:t>
            </a:r>
            <a:endParaRPr lang="de-CH">
              <a:latin typeface="+mj-lt"/>
            </a:endParaRPr>
          </a:p>
          <a:p>
            <a:endParaRPr lang="de-CH" dirty="0">
              <a:latin typeface="+mj-lt"/>
            </a:endParaRPr>
          </a:p>
          <a:p>
            <a:r>
              <a:rPr lang="de-CH" dirty="0" err="1">
                <a:latin typeface="+mj-lt"/>
              </a:rPr>
              <a:t>Unsupervised</a:t>
            </a:r>
            <a:r>
              <a:rPr lang="de-CH" dirty="0">
                <a:latin typeface="+mj-lt"/>
              </a:rPr>
              <a:t> Learning – </a:t>
            </a:r>
            <a:r>
              <a:rPr lang="de-CH" dirty="0" err="1">
                <a:latin typeface="+mj-lt"/>
              </a:rPr>
              <a:t>Structuring</a:t>
            </a:r>
            <a:r>
              <a:rPr lang="de-CH" dirty="0">
                <a:latin typeface="+mj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>
                <a:latin typeface="+mj-lt"/>
              </a:rPr>
              <a:t>clustering</a:t>
            </a:r>
            <a:r>
              <a:rPr lang="de-CH" dirty="0">
                <a:latin typeface="+mj-lt"/>
              </a:rPr>
              <a:t> </a:t>
            </a:r>
            <a:r>
              <a:rPr lang="de-CH" dirty="0" err="1">
                <a:latin typeface="+mj-lt"/>
              </a:rPr>
              <a:t>similar</a:t>
            </a:r>
            <a:r>
              <a:rPr lang="de-CH" dirty="0">
                <a:latin typeface="+mj-lt"/>
              </a:rPr>
              <a:t> </a:t>
            </a:r>
            <a:r>
              <a:rPr lang="de-CH" dirty="0" err="1">
                <a:latin typeface="+mj-lt"/>
              </a:rPr>
              <a:t>instances</a:t>
            </a:r>
            <a:endParaRPr lang="de-CH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>
                <a:latin typeface="+mj-lt"/>
              </a:rPr>
              <a:t>outlier</a:t>
            </a:r>
            <a:r>
              <a:rPr lang="de-CH" dirty="0">
                <a:latin typeface="+mj-lt"/>
              </a:rPr>
              <a:t> </a:t>
            </a:r>
            <a:r>
              <a:rPr lang="de-CH" dirty="0" err="1">
                <a:latin typeface="+mj-lt"/>
              </a:rPr>
              <a:t>detection</a:t>
            </a:r>
            <a:endParaRPr lang="de-CH" dirty="0">
              <a:latin typeface="+mj-lt"/>
            </a:endParaRPr>
          </a:p>
          <a:p>
            <a:pPr marL="0" indent="0"/>
            <a:endParaRPr lang="de-CH" dirty="0">
              <a:effectLst/>
              <a:latin typeface="+mj-lt"/>
            </a:endParaRPr>
          </a:p>
          <a:p>
            <a:pPr marL="0" indent="0"/>
            <a:endParaRPr lang="de-CH" dirty="0">
              <a:effectLst/>
              <a:latin typeface="+mj-lt"/>
            </a:endParaRPr>
          </a:p>
          <a:p>
            <a:r>
              <a:rPr lang="de-CH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Reinforcement Learning</a:t>
            </a:r>
          </a:p>
          <a:p>
            <a:pPr marL="0" indent="0"/>
            <a:endParaRPr lang="de-CH" dirty="0">
              <a:solidFill>
                <a:schemeClr val="bg1">
                  <a:lumMod val="65000"/>
                </a:schemeClr>
              </a:solidFill>
              <a:effectLst/>
              <a:latin typeface="+mj-lt"/>
            </a:endParaRPr>
          </a:p>
          <a:p>
            <a:endParaRPr lang="en-GB" dirty="0"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DB6D069-1D77-4C88-C189-E8FE5763452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513F207-F800-C008-7AFD-F9449CE02B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b="1"/>
              <a:t>Basic Machine Learning Workflow: </a:t>
            </a:r>
            <a:r>
              <a:rPr lang="en-GB"/>
              <a:t>Representation </a:t>
            </a:r>
            <a:r>
              <a:rPr lang="en-GB">
                <a:sym typeface="Wingdings" panose="05000000000000000000" pitchFamily="2" charset="2"/>
              </a:rPr>
              <a:t> Train </a:t>
            </a:r>
            <a:r>
              <a:rPr lang="en-GB"/>
              <a:t> Evaluation </a:t>
            </a:r>
            <a:r>
              <a:rPr lang="en-GB">
                <a:sym typeface="Wingdings" panose="05000000000000000000" pitchFamily="2" charset="2"/>
              </a:rPr>
              <a:t> </a:t>
            </a:r>
            <a:r>
              <a:rPr lang="en-GB"/>
              <a:t>Optimisation (&amp; repeat)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60FC74D-4005-AB9D-7019-6C785BABBE1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4" name="Picture 13" descr="Diagram&#10;&#10;Description automatically generated">
            <a:extLst>
              <a:ext uri="{FF2B5EF4-FFF2-40B4-BE49-F238E27FC236}">
                <a16:creationId xmlns:a16="http://schemas.microsoft.com/office/drawing/2014/main" id="{3781DCDF-839C-300D-0718-EA95A22A3E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8"/>
          <a:stretch/>
        </p:blipFill>
        <p:spPr>
          <a:xfrm>
            <a:off x="4409840" y="536156"/>
            <a:ext cx="4553983" cy="337806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8F3C679-7F89-6D07-35A8-C79D9736BDFC}"/>
              </a:ext>
            </a:extLst>
          </p:cNvPr>
          <p:cNvSpPr txBox="1"/>
          <p:nvPr/>
        </p:nvSpPr>
        <p:spPr>
          <a:xfrm>
            <a:off x="6553951" y="-39714"/>
            <a:ext cx="2789265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>
                <a:latin typeface="Arial" panose="020B0604020202020204" pitchFamily="34" charset="0"/>
                <a:cs typeface="Arial" panose="020B0604020202020204" pitchFamily="34" charset="0"/>
              </a:rPr>
              <a:t>https://starship-knowledge.com/wp-content/uploads/2021/01/unsupervised</a:t>
            </a:r>
          </a:p>
          <a:p>
            <a:r>
              <a:rPr lang="en-GB" sz="1013">
                <a:latin typeface="Arial" panose="020B0604020202020204" pitchFamily="34" charset="0"/>
                <a:cs typeface="Arial" panose="020B0604020202020204" pitchFamily="34" charset="0"/>
              </a:rPr>
              <a:t>_supervised_reinforcement-1024x724.jpeg</a:t>
            </a:r>
          </a:p>
        </p:txBody>
      </p:sp>
    </p:spTree>
    <p:extLst>
      <p:ext uri="{BB962C8B-B14F-4D97-AF65-F5344CB8AC3E}">
        <p14:creationId xmlns:p14="http://schemas.microsoft.com/office/powerpoint/2010/main" val="11418133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Supervised</a:t>
            </a:r>
            <a:r>
              <a:rPr lang="de-CH"/>
              <a:t>: k-</a:t>
            </a:r>
            <a:r>
              <a:rPr lang="de-CH" err="1"/>
              <a:t>Nearest</a:t>
            </a:r>
            <a:r>
              <a:rPr lang="de-CH"/>
              <a:t> </a:t>
            </a:r>
            <a:r>
              <a:rPr lang="de-CH" err="1"/>
              <a:t>Neighbour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2429783-15C9-9A75-A60B-85FC9A9AFBB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/>
            <a:r>
              <a:rPr lang="de-CH" b="1" u="sng" err="1">
                <a:latin typeface="+mj-lt"/>
              </a:rPr>
              <a:t>We</a:t>
            </a:r>
            <a:r>
              <a:rPr lang="de-CH" b="1" u="sng">
                <a:latin typeface="+mj-lt"/>
              </a:rPr>
              <a:t> </a:t>
            </a:r>
            <a:r>
              <a:rPr lang="de-CH" b="1" u="sng" err="1">
                <a:latin typeface="+mj-lt"/>
              </a:rPr>
              <a:t>need</a:t>
            </a:r>
            <a:r>
              <a:rPr lang="de-CH" b="1" u="sng">
                <a:latin typeface="+mj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A distance metric (e.g. Euclidia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How many nearest neighbours to look at (1 to 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</a:rPr>
              <a:t>Optional weighting function on the neighbour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Method for aggregating the classes of neighbour points (e.g. simple majority)</a:t>
            </a:r>
          </a:p>
          <a:p>
            <a:endParaRPr lang="en-GB">
              <a:latin typeface="+mj-lt"/>
            </a:endParaRPr>
          </a:p>
          <a:p>
            <a:r>
              <a:rPr lang="en-GB" b="1" u="sng">
                <a:latin typeface="+mj-lt"/>
              </a:rPr>
              <a:t>What can we predic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binary: two classes (then use an odd k)</a:t>
            </a:r>
            <a:endParaRPr lang="en-GB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multiclass: three or more classes</a:t>
            </a:r>
            <a:endParaRPr lang="en-GB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</a:rPr>
              <a:t>multilabel: each item can have one or more classes*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AB6A11CA-9E6E-33E8-5936-E0BD8C74304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85A0B36-9456-E980-13A3-C81C3A141A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Choose k so that bias and variance are balanced.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00D02138-E10B-E067-9381-25A3EE78B8DF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A0CDB11B-21AD-A561-DEBE-6880F3E4E30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5" r="5213"/>
          <a:stretch/>
        </p:blipFill>
        <p:spPr>
          <a:xfrm>
            <a:off x="4911885" y="50044"/>
            <a:ext cx="3623939" cy="381203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CBC0E5A-E671-FB6E-AF04-BC13B1D17C1E}"/>
              </a:ext>
            </a:extLst>
          </p:cNvPr>
          <p:cNvSpPr txBox="1"/>
          <p:nvPr/>
        </p:nvSpPr>
        <p:spPr>
          <a:xfrm rot="16200000">
            <a:off x="7495806" y="1078106"/>
            <a:ext cx="2716173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>
                <a:latin typeface="Arial" panose="020B0604020202020204" pitchFamily="34" charset="0"/>
                <a:cs typeface="Arial" panose="020B0604020202020204" pitchFamily="34" charset="0"/>
              </a:rPr>
              <a:t>https://miro.medium.com/max/1400/0*34SajbTO2C5Lvigs.png, works in all dimensions, here in the picture shown for 2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2C1F1DC-D985-BE17-3A9C-14589F9AE77C}"/>
              </a:ext>
            </a:extLst>
          </p:cNvPr>
          <p:cNvSpPr txBox="1"/>
          <p:nvPr/>
        </p:nvSpPr>
        <p:spPr>
          <a:xfrm>
            <a:off x="1765341" y="3585075"/>
            <a:ext cx="27161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*same idea but different implementation</a:t>
            </a:r>
            <a:endParaRPr lang="en-GB" sz="1013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3009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9" ma:contentTypeDescription="Ein neues Dokument erstellen." ma:contentTypeScope="" ma:versionID="3ac7e300c56cbe738136fa13d3a90518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8e222083bbe7ae665e818514177159bf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c96929-7643-4924-91c0-9b0ff054556d" xsi:nil="true"/>
    <lcf76f155ced4ddcb4097134ff3c332f xmlns="180db94c-82de-4c89-acb5-d41e1b03bac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3EC63AF-4087-4555-8D83-A67AF4E9F0DD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180db94c-82de-4c89-acb5-d41e1b03bacc"/>
    <ds:schemaRef ds:uri="5dc96929-7643-4924-91c0-9b0ff054556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06C3C9-FB59-4473-BC1F-8644C613D910}">
  <ds:schemaRefs>
    <ds:schemaRef ds:uri="http://schemas.microsoft.com/office/2006/metadata/properties"/>
    <ds:schemaRef ds:uri="http://www.w3.org/2000/xmlns/"/>
    <ds:schemaRef ds:uri="5dc96929-7643-4924-91c0-9b0ff054556d"/>
    <ds:schemaRef ds:uri="http://www.w3.org/2001/XMLSchema-instance"/>
    <ds:schemaRef ds:uri="180db94c-82de-4c89-acb5-d41e1b03bacc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Words>706</Words>
  <Application>Microsoft Office PowerPoint</Application>
  <PresentationFormat>On-screen Show (16:9)</PresentationFormat>
  <Paragraphs>100</Paragraphs>
  <Slides>1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Cambria Math</vt:lpstr>
      <vt:lpstr>Gill Alt One MT Light</vt:lpstr>
      <vt:lpstr>Gill Sans Nova</vt:lpstr>
      <vt:lpstr>Gill Sans Nova Light</vt:lpstr>
      <vt:lpstr>Wingdings</vt:lpstr>
      <vt:lpstr>SCS_Theme</vt:lpstr>
      <vt:lpstr>think-cell Slide</vt:lpstr>
      <vt:lpstr>Grundlagen und Methoden  der Informatik</vt:lpstr>
      <vt:lpstr>Today’s Menu</vt:lpstr>
      <vt:lpstr>1. Discussion of the  solutions of Assignment 10</vt:lpstr>
      <vt:lpstr>2. Discussion of Quiz 10</vt:lpstr>
      <vt:lpstr>Full explanations on Google Colab</vt:lpstr>
      <vt:lpstr>   3. Introduction to Assignment 11  </vt:lpstr>
      <vt:lpstr>What is Machine Learning? </vt:lpstr>
      <vt:lpstr>Machine Learning Types</vt:lpstr>
      <vt:lpstr>Supervised: k-Nearest Neighbour</vt:lpstr>
      <vt:lpstr>Machine Learning with scikit-learn (kNN example)</vt:lpstr>
      <vt:lpstr>Evaluate results: Confusion Matrix</vt:lpstr>
      <vt:lpstr>Evaluate results: Performance Metrics</vt:lpstr>
      <vt:lpstr>Performance Metrics in Python: Classification Repor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Dominik Buchegger</cp:lastModifiedBy>
  <cp:revision>3</cp:revision>
  <dcterms:created xsi:type="dcterms:W3CDTF">2022-09-12T10:36:05Z</dcterms:created>
  <dcterms:modified xsi:type="dcterms:W3CDTF">2023-05-19T09:4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3AC0B29D543742836C64EC22DE252D</vt:lpwstr>
  </property>
  <property fmtid="{D5CDD505-2E9C-101B-9397-08002B2CF9AE}" pid="3" name="MediaServiceImageTags">
    <vt:lpwstr/>
  </property>
</Properties>
</file>